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4" r:id="rId5"/>
    <p:sldMasterId id="2147483738" r:id="rId6"/>
    <p:sldMasterId id="2147483748" r:id="rId7"/>
  </p:sldMasterIdLst>
  <p:notesMasterIdLst>
    <p:notesMasterId r:id="rId24"/>
  </p:notesMasterIdLst>
  <p:handoutMasterIdLst>
    <p:handoutMasterId r:id="rId25"/>
  </p:handoutMasterIdLst>
  <p:sldIdLst>
    <p:sldId id="339" r:id="rId8"/>
    <p:sldId id="2699" r:id="rId9"/>
    <p:sldId id="2700" r:id="rId10"/>
    <p:sldId id="2706" r:id="rId11"/>
    <p:sldId id="364" r:id="rId12"/>
    <p:sldId id="2701" r:id="rId13"/>
    <p:sldId id="2710" r:id="rId14"/>
    <p:sldId id="355" r:id="rId15"/>
    <p:sldId id="2709" r:id="rId16"/>
    <p:sldId id="346" r:id="rId17"/>
    <p:sldId id="350" r:id="rId18"/>
    <p:sldId id="2705" r:id="rId19"/>
    <p:sldId id="2707" r:id="rId20"/>
    <p:sldId id="2708" r:id="rId21"/>
    <p:sldId id="2702" r:id="rId22"/>
    <p:sldId id="349" r:id="rId23"/>
  </p:sldIdLst>
  <p:sldSz cx="16254413" cy="9144000"/>
  <p:notesSz cx="6858000" cy="9144000"/>
  <p:defaultTextStyle>
    <a:defPPr>
      <a:defRPr lang="nb-NO"/>
    </a:defPPr>
    <a:lvl1pPr marL="0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1pPr>
    <a:lvl2pPr marL="574975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2pPr>
    <a:lvl3pPr marL="114994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3pPr>
    <a:lvl4pPr marL="172492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4pPr>
    <a:lvl5pPr marL="229989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5pPr>
    <a:lvl6pPr marL="287487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6pPr>
    <a:lvl7pPr marL="344984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7pPr>
    <a:lvl8pPr marL="4024823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8pPr>
    <a:lvl9pPr marL="459979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B9764C51-8652-45DF-A568-902148213816}">
          <p14:sldIdLst>
            <p14:sldId id="339"/>
            <p14:sldId id="2699"/>
            <p14:sldId id="2700"/>
            <p14:sldId id="2706"/>
            <p14:sldId id="364"/>
            <p14:sldId id="2701"/>
            <p14:sldId id="2710"/>
            <p14:sldId id="355"/>
            <p14:sldId id="2709"/>
            <p14:sldId id="346"/>
            <p14:sldId id="350"/>
            <p14:sldId id="2705"/>
            <p14:sldId id="2707"/>
            <p14:sldId id="2708"/>
            <p14:sldId id="2702"/>
            <p14:sldId id="34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4FB3F88-83E1-3478-AA8D-C0485645901E}" name="Thuestad, Arvid Bro" initials="TAB" userId="S::ArvidBro.Thuestad@digdir.no::47d2d59e-da4a-4dfa-8b65-1d6a79af3871" providerId="AD"/>
  <p188:author id="{B6213FF2-F3DC-9C34-DCC6-622E83321A0C}" name="Brevik, Ragnar" initials="BR" userId="S::Ragnar.Brevik@digdir.no::79063293-ab1b-4e79-aad7-87d13d9b8da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132C"/>
    <a:srgbClr val="1E2B3C"/>
    <a:srgbClr val="F9D2D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CB7360-25DB-4DDC-8342-7D2EBA40F03D}" v="2" dt="2022-09-29T08:07:24.1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176" autoAdjust="0"/>
  </p:normalViewPr>
  <p:slideViewPr>
    <p:cSldViewPr snapToGrid="0">
      <p:cViewPr varScale="1">
        <p:scale>
          <a:sx n="69" d="100"/>
          <a:sy n="69" d="100"/>
        </p:scale>
        <p:origin x="121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D57022-3148-4A62-ABDB-BE6DAA2EAF47}" type="doc">
      <dgm:prSet loTypeId="urn:microsoft.com/office/officeart/2005/8/layout/matrix1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b-NO"/>
        </a:p>
      </dgm:t>
    </dgm:pt>
    <dgm:pt modelId="{9A676BFA-3B5B-416A-9CD6-9E57595E7869}">
      <dgm:prSet phldrT="[Tekst]"/>
      <dgm:spPr/>
      <dgm:t>
        <a:bodyPr/>
        <a:lstStyle/>
        <a:p>
          <a:r>
            <a:rPr lang="nb-NO"/>
            <a:t>Språkferdigheter</a:t>
          </a:r>
        </a:p>
      </dgm:t>
    </dgm:pt>
    <dgm:pt modelId="{D9F24D54-66F0-41E7-94EA-945F8B704D2B}" type="parTrans" cxnId="{115848F8-AA5D-462B-B2EE-538647E790E4}">
      <dgm:prSet/>
      <dgm:spPr/>
      <dgm:t>
        <a:bodyPr/>
        <a:lstStyle/>
        <a:p>
          <a:endParaRPr lang="nb-NO"/>
        </a:p>
      </dgm:t>
    </dgm:pt>
    <dgm:pt modelId="{5B559AC2-DA69-4BFC-A1F9-98CEA3CD711E}" type="sibTrans" cxnId="{115848F8-AA5D-462B-B2EE-538647E790E4}">
      <dgm:prSet/>
      <dgm:spPr/>
      <dgm:t>
        <a:bodyPr/>
        <a:lstStyle/>
        <a:p>
          <a:endParaRPr lang="nb-NO"/>
        </a:p>
      </dgm:t>
    </dgm:pt>
    <dgm:pt modelId="{AD0CC3C2-6C30-41E5-8D5C-0F100F89A69F}">
      <dgm:prSet phldrT="[Tekst]"/>
      <dgm:spPr>
        <a:solidFill>
          <a:schemeClr val="accent5"/>
        </a:solidFill>
      </dgm:spPr>
      <dgm:t>
        <a:bodyPr/>
        <a:lstStyle/>
        <a:p>
          <a:r>
            <a:rPr lang="nb-NO"/>
            <a:t>Tilgang</a:t>
          </a:r>
        </a:p>
      </dgm:t>
    </dgm:pt>
    <dgm:pt modelId="{A868ADFB-BA1B-452B-AF96-E31EAEC9FA67}" type="parTrans" cxnId="{F66A2968-63A8-4DA6-8017-3111789D9AE4}">
      <dgm:prSet/>
      <dgm:spPr/>
      <dgm:t>
        <a:bodyPr/>
        <a:lstStyle/>
        <a:p>
          <a:endParaRPr lang="nb-NO"/>
        </a:p>
      </dgm:t>
    </dgm:pt>
    <dgm:pt modelId="{B3AF6531-6571-408E-B59F-B519944442C1}" type="sibTrans" cxnId="{F66A2968-63A8-4DA6-8017-3111789D9AE4}">
      <dgm:prSet/>
      <dgm:spPr/>
      <dgm:t>
        <a:bodyPr/>
        <a:lstStyle/>
        <a:p>
          <a:endParaRPr lang="nb-NO"/>
        </a:p>
      </dgm:t>
    </dgm:pt>
    <dgm:pt modelId="{CDDF67D8-2F0F-49C8-AADC-763B1E98DDAD}">
      <dgm:prSet phldrT="[Tekst]"/>
      <dgm:spPr/>
      <dgm:t>
        <a:bodyPr/>
        <a:lstStyle/>
        <a:p>
          <a:r>
            <a:rPr lang="nb-NO" b="0"/>
            <a:t>Digital kompetanse</a:t>
          </a:r>
        </a:p>
      </dgm:t>
    </dgm:pt>
    <dgm:pt modelId="{888F5900-92E6-47D0-93F7-1D61D734DE9F}" type="parTrans" cxnId="{BD1BAD13-E2D3-450F-8089-86F9B2880628}">
      <dgm:prSet/>
      <dgm:spPr/>
      <dgm:t>
        <a:bodyPr/>
        <a:lstStyle/>
        <a:p>
          <a:endParaRPr lang="nb-NO"/>
        </a:p>
      </dgm:t>
    </dgm:pt>
    <dgm:pt modelId="{EE8F1F11-B4BE-4E5D-BF45-B84B88F8F15A}" type="sibTrans" cxnId="{BD1BAD13-E2D3-450F-8089-86F9B2880628}">
      <dgm:prSet/>
      <dgm:spPr/>
      <dgm:t>
        <a:bodyPr/>
        <a:lstStyle/>
        <a:p>
          <a:endParaRPr lang="nb-NO"/>
        </a:p>
      </dgm:t>
    </dgm:pt>
    <dgm:pt modelId="{E9DEA884-D050-44B3-BB2C-571406846606}">
      <dgm:prSet phldrT="[Tekst]"/>
      <dgm:spPr/>
      <dgm:t>
        <a:bodyPr/>
        <a:lstStyle/>
        <a:p>
          <a:r>
            <a:rPr lang="nb-NO"/>
            <a:t>Helse- og livssituasjon</a:t>
          </a:r>
        </a:p>
      </dgm:t>
    </dgm:pt>
    <dgm:pt modelId="{2373D72F-BB03-4909-AE8A-5C8125673FB6}" type="parTrans" cxnId="{2796A7F8-61FA-4CE4-81B6-7A2E3E744055}">
      <dgm:prSet/>
      <dgm:spPr/>
      <dgm:t>
        <a:bodyPr/>
        <a:lstStyle/>
        <a:p>
          <a:endParaRPr lang="nb-NO"/>
        </a:p>
      </dgm:t>
    </dgm:pt>
    <dgm:pt modelId="{FB18FF3E-974C-42C5-9C0E-4E396D8C7977}" type="sibTrans" cxnId="{2796A7F8-61FA-4CE4-81B6-7A2E3E744055}">
      <dgm:prSet/>
      <dgm:spPr/>
      <dgm:t>
        <a:bodyPr/>
        <a:lstStyle/>
        <a:p>
          <a:endParaRPr lang="nb-NO"/>
        </a:p>
      </dgm:t>
    </dgm:pt>
    <dgm:pt modelId="{ADD1E0A0-2A6E-40FF-8B54-56C03F026C23}">
      <dgm:prSet phldrT="[Tekst]"/>
      <dgm:spPr>
        <a:solidFill>
          <a:schemeClr val="accent6"/>
        </a:solidFill>
      </dgm:spPr>
      <dgm:t>
        <a:bodyPr/>
        <a:lstStyle/>
        <a:p>
          <a:r>
            <a:rPr lang="nb-NO"/>
            <a:t>Forvaltningsforståelse</a:t>
          </a:r>
        </a:p>
      </dgm:t>
    </dgm:pt>
    <dgm:pt modelId="{4E965D03-F84A-4A33-9E8B-24910811C1D2}" type="parTrans" cxnId="{FF6EC539-DCEB-45B0-9A7B-54D64C112981}">
      <dgm:prSet/>
      <dgm:spPr/>
      <dgm:t>
        <a:bodyPr/>
        <a:lstStyle/>
        <a:p>
          <a:endParaRPr lang="nb-NO"/>
        </a:p>
      </dgm:t>
    </dgm:pt>
    <dgm:pt modelId="{B36FFF25-1ACF-4D55-81B6-2A385121126D}" type="sibTrans" cxnId="{FF6EC539-DCEB-45B0-9A7B-54D64C112981}">
      <dgm:prSet/>
      <dgm:spPr/>
      <dgm:t>
        <a:bodyPr/>
        <a:lstStyle/>
        <a:p>
          <a:endParaRPr lang="nb-NO"/>
        </a:p>
      </dgm:t>
    </dgm:pt>
    <dgm:pt modelId="{15CB355B-2F24-4D78-8B6E-598D37227A81}">
      <dgm:prSet phldrT="[Tekst]"/>
      <dgm:spPr/>
      <dgm:t>
        <a:bodyPr/>
        <a:lstStyle/>
        <a:p>
          <a:r>
            <a:rPr lang="nb-NO"/>
            <a:t>Evne til å løse oppgaver digitalt</a:t>
          </a:r>
        </a:p>
      </dgm:t>
    </dgm:pt>
    <dgm:pt modelId="{6D63E198-ACD9-4733-A634-71CB392AEA58}" type="parTrans" cxnId="{3E2A2B01-90CE-4AE1-AEFE-B8FE49AC57AF}">
      <dgm:prSet/>
      <dgm:spPr/>
      <dgm:t>
        <a:bodyPr/>
        <a:lstStyle/>
        <a:p>
          <a:endParaRPr lang="nb-NO"/>
        </a:p>
      </dgm:t>
    </dgm:pt>
    <dgm:pt modelId="{D0DE94CB-30C5-4366-9E92-16580BF55343}" type="sibTrans" cxnId="{3E2A2B01-90CE-4AE1-AEFE-B8FE49AC57AF}">
      <dgm:prSet/>
      <dgm:spPr/>
      <dgm:t>
        <a:bodyPr/>
        <a:lstStyle/>
        <a:p>
          <a:endParaRPr lang="nb-NO"/>
        </a:p>
      </dgm:t>
    </dgm:pt>
    <dgm:pt modelId="{68A4D96F-2794-49E6-B295-0BD3746BB9A8}">
      <dgm:prSet phldrT="[Tekst]"/>
      <dgm:spPr/>
      <dgm:t>
        <a:bodyPr/>
        <a:lstStyle/>
        <a:p>
          <a:r>
            <a:rPr lang="nb-NO"/>
            <a:t>Evne bruke digitale verktøy</a:t>
          </a:r>
        </a:p>
      </dgm:t>
    </dgm:pt>
    <dgm:pt modelId="{5CC7E045-4A1B-4B1B-8D95-201E3D8858CE}" type="parTrans" cxnId="{388790EC-C976-45E5-BCDB-B7347A15F4F5}">
      <dgm:prSet/>
      <dgm:spPr/>
      <dgm:t>
        <a:bodyPr/>
        <a:lstStyle/>
        <a:p>
          <a:endParaRPr lang="nb-NO"/>
        </a:p>
      </dgm:t>
    </dgm:pt>
    <dgm:pt modelId="{98C60098-15B0-4697-83A7-288103858751}" type="sibTrans" cxnId="{388790EC-C976-45E5-BCDB-B7347A15F4F5}">
      <dgm:prSet/>
      <dgm:spPr/>
      <dgm:t>
        <a:bodyPr/>
        <a:lstStyle/>
        <a:p>
          <a:endParaRPr lang="nb-NO"/>
        </a:p>
      </dgm:t>
    </dgm:pt>
    <dgm:pt modelId="{4D980055-AE5A-414C-AF2C-215269124AA3}">
      <dgm:prSet phldrT="[Tekst]"/>
      <dgm:spPr>
        <a:solidFill>
          <a:schemeClr val="accent5"/>
        </a:solidFill>
      </dgm:spPr>
      <dgm:t>
        <a:bodyPr/>
        <a:lstStyle/>
        <a:p>
          <a:r>
            <a:rPr lang="nb-NO"/>
            <a:t>Internett (høy hastighet)</a:t>
          </a:r>
        </a:p>
      </dgm:t>
    </dgm:pt>
    <dgm:pt modelId="{D2CEE3A6-EDF6-40BD-A419-C3638AB2114E}" type="parTrans" cxnId="{2F2424F4-9744-42FE-9CCD-34288AE192E7}">
      <dgm:prSet/>
      <dgm:spPr/>
      <dgm:t>
        <a:bodyPr/>
        <a:lstStyle/>
        <a:p>
          <a:endParaRPr lang="nb-NO"/>
        </a:p>
      </dgm:t>
    </dgm:pt>
    <dgm:pt modelId="{488B89E0-E771-44AB-90E8-EC8ACE338E0F}" type="sibTrans" cxnId="{2F2424F4-9744-42FE-9CCD-34288AE192E7}">
      <dgm:prSet/>
      <dgm:spPr/>
      <dgm:t>
        <a:bodyPr/>
        <a:lstStyle/>
        <a:p>
          <a:endParaRPr lang="nb-NO"/>
        </a:p>
      </dgm:t>
    </dgm:pt>
    <dgm:pt modelId="{66946B72-7A38-4CA5-8EF0-45C536C4E9E0}">
      <dgm:prSet phldrT="[Tekst]"/>
      <dgm:spPr>
        <a:solidFill>
          <a:schemeClr val="accent5"/>
        </a:solidFill>
      </dgm:spPr>
      <dgm:t>
        <a:bodyPr/>
        <a:lstStyle/>
        <a:p>
          <a:r>
            <a:rPr lang="nb-NO"/>
            <a:t>Digital enhet (smarttelefon, datamaskin, o.l.)</a:t>
          </a:r>
        </a:p>
      </dgm:t>
    </dgm:pt>
    <dgm:pt modelId="{D7770F15-2DAF-41BD-B43D-6B2EC6BF5AF1}" type="parTrans" cxnId="{9351D38D-10CA-4A9C-90F8-624EE6765B3D}">
      <dgm:prSet/>
      <dgm:spPr/>
      <dgm:t>
        <a:bodyPr/>
        <a:lstStyle/>
        <a:p>
          <a:endParaRPr lang="nb-NO"/>
        </a:p>
      </dgm:t>
    </dgm:pt>
    <dgm:pt modelId="{0B877791-5BB3-4C16-84B9-51ECFE4FCACE}" type="sibTrans" cxnId="{9351D38D-10CA-4A9C-90F8-624EE6765B3D}">
      <dgm:prSet/>
      <dgm:spPr/>
      <dgm:t>
        <a:bodyPr/>
        <a:lstStyle/>
        <a:p>
          <a:endParaRPr lang="nb-NO"/>
        </a:p>
      </dgm:t>
    </dgm:pt>
    <dgm:pt modelId="{7A07849C-9998-4E99-B265-62EC2A01DEA9}">
      <dgm:prSet phldrT="[Tekst]"/>
      <dgm:spPr>
        <a:solidFill>
          <a:schemeClr val="accent5"/>
        </a:solidFill>
      </dgm:spPr>
      <dgm:t>
        <a:bodyPr/>
        <a:lstStyle/>
        <a:p>
          <a:r>
            <a:rPr lang="nb-NO"/>
            <a:t>Elektronisk identitet</a:t>
          </a:r>
        </a:p>
      </dgm:t>
    </dgm:pt>
    <dgm:pt modelId="{CBE84A30-5CFC-4F14-9E32-A820B9693813}" type="parTrans" cxnId="{F751885D-426B-48C5-A5E6-49DED42EE462}">
      <dgm:prSet/>
      <dgm:spPr/>
      <dgm:t>
        <a:bodyPr/>
        <a:lstStyle/>
        <a:p>
          <a:endParaRPr lang="nb-NO"/>
        </a:p>
      </dgm:t>
    </dgm:pt>
    <dgm:pt modelId="{9A42CF03-6C3A-4A4C-BD73-03F82D39F217}" type="sibTrans" cxnId="{F751885D-426B-48C5-A5E6-49DED42EE462}">
      <dgm:prSet/>
      <dgm:spPr/>
      <dgm:t>
        <a:bodyPr/>
        <a:lstStyle/>
        <a:p>
          <a:endParaRPr lang="nb-NO"/>
        </a:p>
      </dgm:t>
    </dgm:pt>
    <dgm:pt modelId="{7FF7015D-FB07-4449-B0D5-94F439C57D7A}">
      <dgm:prSet phldrT="[Tekst]"/>
      <dgm:spPr/>
      <dgm:t>
        <a:bodyPr/>
        <a:lstStyle/>
        <a:p>
          <a:r>
            <a:rPr lang="nb-NO"/>
            <a:t>Varige eller midlertidige fysiske eller psykiske funksjonsnedsettelser</a:t>
          </a:r>
        </a:p>
      </dgm:t>
    </dgm:pt>
    <dgm:pt modelId="{C748CF12-78B1-4454-8EF2-429FE855120F}" type="parTrans" cxnId="{D0D4AA27-7C64-4F19-A3AE-E0CA3BA01957}">
      <dgm:prSet/>
      <dgm:spPr/>
      <dgm:t>
        <a:bodyPr/>
        <a:lstStyle/>
        <a:p>
          <a:endParaRPr lang="nb-NO"/>
        </a:p>
      </dgm:t>
    </dgm:pt>
    <dgm:pt modelId="{E0C0EC10-3264-4ECD-BEFA-8FCAEA404B73}" type="sibTrans" cxnId="{D0D4AA27-7C64-4F19-A3AE-E0CA3BA01957}">
      <dgm:prSet/>
      <dgm:spPr/>
      <dgm:t>
        <a:bodyPr/>
        <a:lstStyle/>
        <a:p>
          <a:endParaRPr lang="nb-NO"/>
        </a:p>
      </dgm:t>
    </dgm:pt>
    <dgm:pt modelId="{4729007F-A6DD-4D6A-8BC2-2106AF2CB7AB}">
      <dgm:prSet phldrT="[Tekst]"/>
      <dgm:spPr/>
      <dgm:t>
        <a:bodyPr/>
        <a:lstStyle/>
        <a:p>
          <a:r>
            <a:rPr lang="nb-NO"/>
            <a:t>Mestringstro</a:t>
          </a:r>
        </a:p>
      </dgm:t>
    </dgm:pt>
    <dgm:pt modelId="{898A0E0D-63E5-48DA-B81D-41B9F3556044}" type="parTrans" cxnId="{2B8EFE2C-012B-4159-81E1-C1CC17969A7B}">
      <dgm:prSet/>
      <dgm:spPr/>
      <dgm:t>
        <a:bodyPr/>
        <a:lstStyle/>
        <a:p>
          <a:endParaRPr lang="nb-NO"/>
        </a:p>
      </dgm:t>
    </dgm:pt>
    <dgm:pt modelId="{8799BD80-EF9E-4260-BA2D-17E86BE4156A}" type="sibTrans" cxnId="{2B8EFE2C-012B-4159-81E1-C1CC17969A7B}">
      <dgm:prSet/>
      <dgm:spPr/>
      <dgm:t>
        <a:bodyPr/>
        <a:lstStyle/>
        <a:p>
          <a:endParaRPr lang="nb-NO"/>
        </a:p>
      </dgm:t>
    </dgm:pt>
    <dgm:pt modelId="{670ADA4A-2C3D-447E-AE82-AF1498FD4FB0}">
      <dgm:prSet phldrT="[Tekst]"/>
      <dgm:spPr>
        <a:solidFill>
          <a:schemeClr val="accent6"/>
        </a:solidFill>
      </dgm:spPr>
      <dgm:t>
        <a:bodyPr/>
        <a:lstStyle/>
        <a:p>
          <a:r>
            <a:rPr lang="nb-NO"/>
            <a:t>Forståelse av forvaltningens organisering</a:t>
          </a:r>
        </a:p>
      </dgm:t>
    </dgm:pt>
    <dgm:pt modelId="{3EED163F-D7AE-429D-92F3-A15ADBFB2AD1}" type="parTrans" cxnId="{A2BF4642-F63E-4EC1-B3E4-318A84749C63}">
      <dgm:prSet/>
      <dgm:spPr/>
      <dgm:t>
        <a:bodyPr/>
        <a:lstStyle/>
        <a:p>
          <a:endParaRPr lang="nb-NO"/>
        </a:p>
      </dgm:t>
    </dgm:pt>
    <dgm:pt modelId="{5252ED2F-46D2-46DF-B4AC-93DECBF4C206}" type="sibTrans" cxnId="{A2BF4642-F63E-4EC1-B3E4-318A84749C63}">
      <dgm:prSet/>
      <dgm:spPr/>
      <dgm:t>
        <a:bodyPr/>
        <a:lstStyle/>
        <a:p>
          <a:endParaRPr lang="nb-NO"/>
        </a:p>
      </dgm:t>
    </dgm:pt>
    <dgm:pt modelId="{8BF6D891-7DEC-4961-AE47-3EF3AE4CB801}">
      <dgm:prSet phldrT="[Tekst]"/>
      <dgm:spPr>
        <a:solidFill>
          <a:schemeClr val="accent6"/>
        </a:solidFill>
      </dgm:spPr>
      <dgm:t>
        <a:bodyPr/>
        <a:lstStyle/>
        <a:p>
          <a:r>
            <a:rPr lang="nb-NO"/>
            <a:t>Evne til å finne og nyttiggjøre seg informasjon</a:t>
          </a:r>
        </a:p>
      </dgm:t>
    </dgm:pt>
    <dgm:pt modelId="{C27F1291-D80F-48F3-9132-077A354E1F1A}" type="parTrans" cxnId="{56F1C78B-CC2A-41B3-B199-A79DA520C1B9}">
      <dgm:prSet/>
      <dgm:spPr/>
      <dgm:t>
        <a:bodyPr/>
        <a:lstStyle/>
        <a:p>
          <a:endParaRPr lang="nb-NO"/>
        </a:p>
      </dgm:t>
    </dgm:pt>
    <dgm:pt modelId="{62A3B812-FE57-4672-BB30-B1598B3FCEE0}" type="sibTrans" cxnId="{56F1C78B-CC2A-41B3-B199-A79DA520C1B9}">
      <dgm:prSet/>
      <dgm:spPr/>
      <dgm:t>
        <a:bodyPr/>
        <a:lstStyle/>
        <a:p>
          <a:endParaRPr lang="nb-NO"/>
        </a:p>
      </dgm:t>
    </dgm:pt>
    <dgm:pt modelId="{479D8168-9D63-400B-B6B5-1443C3FD050D}">
      <dgm:prSet phldrT="[Tekst]"/>
      <dgm:spPr>
        <a:solidFill>
          <a:schemeClr val="accent6"/>
        </a:solidFill>
      </dgm:spPr>
      <dgm:t>
        <a:bodyPr/>
        <a:lstStyle/>
        <a:p>
          <a:r>
            <a:rPr lang="nb-NO"/>
            <a:t>Finne rettigheter og plikter</a:t>
          </a:r>
        </a:p>
      </dgm:t>
    </dgm:pt>
    <dgm:pt modelId="{CCE95C2D-A4FE-496D-B74D-2637D8321095}" type="parTrans" cxnId="{A14E7733-641C-41CE-8B20-A86366B04733}">
      <dgm:prSet/>
      <dgm:spPr/>
    </dgm:pt>
    <dgm:pt modelId="{F56750D5-4003-4B4B-9885-F26B639A810B}" type="sibTrans" cxnId="{A14E7733-641C-41CE-8B20-A86366B04733}">
      <dgm:prSet/>
      <dgm:spPr/>
    </dgm:pt>
    <dgm:pt modelId="{27963A04-D786-43E7-9B5A-F0F7C3067948}" type="pres">
      <dgm:prSet presAssocID="{9ED57022-3148-4A62-ABDB-BE6DAA2EAF47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2ED71FB-0A05-4C7D-9094-6F4311AA52C6}" type="pres">
      <dgm:prSet presAssocID="{9ED57022-3148-4A62-ABDB-BE6DAA2EAF47}" presName="matrix" presStyleCnt="0"/>
      <dgm:spPr/>
    </dgm:pt>
    <dgm:pt modelId="{5F2F4D44-F72D-4F58-9EC5-7A91CE02A1AC}" type="pres">
      <dgm:prSet presAssocID="{9ED57022-3148-4A62-ABDB-BE6DAA2EAF47}" presName="tile1" presStyleLbl="node1" presStyleIdx="0" presStyleCnt="4"/>
      <dgm:spPr/>
    </dgm:pt>
    <dgm:pt modelId="{3E9A0887-2D5D-4DAE-804F-62F8C2626DA6}" type="pres">
      <dgm:prSet presAssocID="{9ED57022-3148-4A62-ABDB-BE6DAA2EAF4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C2AAF28-49BA-4934-A7EC-258A8E811484}" type="pres">
      <dgm:prSet presAssocID="{9ED57022-3148-4A62-ABDB-BE6DAA2EAF47}" presName="tile2" presStyleLbl="node1" presStyleIdx="1" presStyleCnt="4"/>
      <dgm:spPr/>
    </dgm:pt>
    <dgm:pt modelId="{4BD267C2-97E0-4876-B460-09C1874104E1}" type="pres">
      <dgm:prSet presAssocID="{9ED57022-3148-4A62-ABDB-BE6DAA2EAF4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5D87110-AB70-42D4-AD84-584C7914700D}" type="pres">
      <dgm:prSet presAssocID="{9ED57022-3148-4A62-ABDB-BE6DAA2EAF47}" presName="tile3" presStyleLbl="node1" presStyleIdx="2" presStyleCnt="4"/>
      <dgm:spPr/>
    </dgm:pt>
    <dgm:pt modelId="{646B348B-80F2-49F4-8F91-F96DA82293DC}" type="pres">
      <dgm:prSet presAssocID="{9ED57022-3148-4A62-ABDB-BE6DAA2EAF4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0354FD4-489E-497F-972C-68EB99149FD2}" type="pres">
      <dgm:prSet presAssocID="{9ED57022-3148-4A62-ABDB-BE6DAA2EAF47}" presName="tile4" presStyleLbl="node1" presStyleIdx="3" presStyleCnt="4"/>
      <dgm:spPr/>
    </dgm:pt>
    <dgm:pt modelId="{21213799-C6EC-4B6C-BD6A-F9239122B428}" type="pres">
      <dgm:prSet presAssocID="{9ED57022-3148-4A62-ABDB-BE6DAA2EAF4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66B86633-D365-4B0A-91E9-9DF687A445C0}" type="pres">
      <dgm:prSet presAssocID="{9ED57022-3148-4A62-ABDB-BE6DAA2EAF47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A1DCAF00-89A8-4D8B-AB15-7D97C349C426}" type="presOf" srcId="{E9DEA884-D050-44B3-BB2C-571406846606}" destId="{646B348B-80F2-49F4-8F91-F96DA82293DC}" srcOrd="1" destOrd="0" presId="urn:microsoft.com/office/officeart/2005/8/layout/matrix1"/>
    <dgm:cxn modelId="{3E2A2B01-90CE-4AE1-AEFE-B8FE49AC57AF}" srcId="{CDDF67D8-2F0F-49C8-AADC-763B1E98DDAD}" destId="{15CB355B-2F24-4D78-8B6E-598D37227A81}" srcOrd="0" destOrd="0" parTransId="{6D63E198-ACD9-4733-A634-71CB392AEA58}" sibTransId="{D0DE94CB-30C5-4366-9E92-16580BF55343}"/>
    <dgm:cxn modelId="{CCF67F06-2DE9-497D-A523-B58187C23DE1}" type="presOf" srcId="{8BF6D891-7DEC-4961-AE47-3EF3AE4CB801}" destId="{21213799-C6EC-4B6C-BD6A-F9239122B428}" srcOrd="1" destOrd="3" presId="urn:microsoft.com/office/officeart/2005/8/layout/matrix1"/>
    <dgm:cxn modelId="{BD1BAD13-E2D3-450F-8089-86F9B2880628}" srcId="{9A676BFA-3B5B-416A-9CD6-9E57595E7869}" destId="{CDDF67D8-2F0F-49C8-AADC-763B1E98DDAD}" srcOrd="1" destOrd="0" parTransId="{888F5900-92E6-47D0-93F7-1D61D734DE9F}" sibTransId="{EE8F1F11-B4BE-4E5D-BF45-B84B88F8F15A}"/>
    <dgm:cxn modelId="{257AC414-B8AB-4D52-A0AB-55F3889264A9}" type="presOf" srcId="{CDDF67D8-2F0F-49C8-AADC-763B1E98DDAD}" destId="{4BD267C2-97E0-4876-B460-09C1874104E1}" srcOrd="1" destOrd="0" presId="urn:microsoft.com/office/officeart/2005/8/layout/matrix1"/>
    <dgm:cxn modelId="{210F9716-46D2-461F-AB30-9C346FCEF951}" type="presOf" srcId="{68A4D96F-2794-49E6-B295-0BD3746BB9A8}" destId="{4BD267C2-97E0-4876-B460-09C1874104E1}" srcOrd="1" destOrd="2" presId="urn:microsoft.com/office/officeart/2005/8/layout/matrix1"/>
    <dgm:cxn modelId="{73E66026-AC36-4BA9-A479-C7989155FCB5}" type="presOf" srcId="{9A676BFA-3B5B-416A-9CD6-9E57595E7869}" destId="{66B86633-D365-4B0A-91E9-9DF687A445C0}" srcOrd="0" destOrd="0" presId="urn:microsoft.com/office/officeart/2005/8/layout/matrix1"/>
    <dgm:cxn modelId="{D0D4AA27-7C64-4F19-A3AE-E0CA3BA01957}" srcId="{E9DEA884-D050-44B3-BB2C-571406846606}" destId="{7FF7015D-FB07-4449-B0D5-94F439C57D7A}" srcOrd="0" destOrd="0" parTransId="{C748CF12-78B1-4454-8EF2-429FE855120F}" sibTransId="{E0C0EC10-3264-4ECD-BEFA-8FCAEA404B73}"/>
    <dgm:cxn modelId="{D7C3812C-2950-4A7C-8BFE-317661298AD2}" type="presOf" srcId="{E9DEA884-D050-44B3-BB2C-571406846606}" destId="{25D87110-AB70-42D4-AD84-584C7914700D}" srcOrd="0" destOrd="0" presId="urn:microsoft.com/office/officeart/2005/8/layout/matrix1"/>
    <dgm:cxn modelId="{2B8EFE2C-012B-4159-81E1-C1CC17969A7B}" srcId="{E9DEA884-D050-44B3-BB2C-571406846606}" destId="{4729007F-A6DD-4D6A-8BC2-2106AF2CB7AB}" srcOrd="1" destOrd="0" parTransId="{898A0E0D-63E5-48DA-B81D-41B9F3556044}" sibTransId="{8799BD80-EF9E-4260-BA2D-17E86BE4156A}"/>
    <dgm:cxn modelId="{A14E7733-641C-41CE-8B20-A86366B04733}" srcId="{ADD1E0A0-2A6E-40FF-8B54-56C03F026C23}" destId="{479D8168-9D63-400B-B6B5-1443C3FD050D}" srcOrd="1" destOrd="0" parTransId="{CCE95C2D-A4FE-496D-B74D-2637D8321095}" sibTransId="{F56750D5-4003-4B4B-9885-F26B639A810B}"/>
    <dgm:cxn modelId="{FF6EC539-DCEB-45B0-9A7B-54D64C112981}" srcId="{9A676BFA-3B5B-416A-9CD6-9E57595E7869}" destId="{ADD1E0A0-2A6E-40FF-8B54-56C03F026C23}" srcOrd="3" destOrd="0" parTransId="{4E965D03-F84A-4A33-9E8B-24910811C1D2}" sibTransId="{B36FFF25-1ACF-4D55-81B6-2A385121126D}"/>
    <dgm:cxn modelId="{05E2ED39-C52E-424C-BC88-64343C67A81F}" type="presOf" srcId="{AD0CC3C2-6C30-41E5-8D5C-0F100F89A69F}" destId="{3E9A0887-2D5D-4DAE-804F-62F8C2626DA6}" srcOrd="1" destOrd="0" presId="urn:microsoft.com/office/officeart/2005/8/layout/matrix1"/>
    <dgm:cxn modelId="{F751885D-426B-48C5-A5E6-49DED42EE462}" srcId="{AD0CC3C2-6C30-41E5-8D5C-0F100F89A69F}" destId="{7A07849C-9998-4E99-B265-62EC2A01DEA9}" srcOrd="2" destOrd="0" parTransId="{CBE84A30-5CFC-4F14-9E32-A820B9693813}" sibTransId="{9A42CF03-6C3A-4A4C-BD73-03F82D39F217}"/>
    <dgm:cxn modelId="{31118361-0B7C-47AD-83F9-5041ED21EA81}" type="presOf" srcId="{9ED57022-3148-4A62-ABDB-BE6DAA2EAF47}" destId="{27963A04-D786-43E7-9B5A-F0F7C3067948}" srcOrd="0" destOrd="0" presId="urn:microsoft.com/office/officeart/2005/8/layout/matrix1"/>
    <dgm:cxn modelId="{A2BF4642-F63E-4EC1-B3E4-318A84749C63}" srcId="{ADD1E0A0-2A6E-40FF-8B54-56C03F026C23}" destId="{670ADA4A-2C3D-447E-AE82-AF1498FD4FB0}" srcOrd="0" destOrd="0" parTransId="{3EED163F-D7AE-429D-92F3-A15ADBFB2AD1}" sibTransId="{5252ED2F-46D2-46DF-B4AC-93DECBF4C206}"/>
    <dgm:cxn modelId="{4879FB46-B06C-4EFE-8D98-5B68557E2629}" type="presOf" srcId="{4729007F-A6DD-4D6A-8BC2-2106AF2CB7AB}" destId="{25D87110-AB70-42D4-AD84-584C7914700D}" srcOrd="0" destOrd="2" presId="urn:microsoft.com/office/officeart/2005/8/layout/matrix1"/>
    <dgm:cxn modelId="{0ECB9947-E75A-4465-AFA3-2203EDA2D863}" type="presOf" srcId="{7FF7015D-FB07-4449-B0D5-94F439C57D7A}" destId="{646B348B-80F2-49F4-8F91-F96DA82293DC}" srcOrd="1" destOrd="1" presId="urn:microsoft.com/office/officeart/2005/8/layout/matrix1"/>
    <dgm:cxn modelId="{F66A2968-63A8-4DA6-8017-3111789D9AE4}" srcId="{9A676BFA-3B5B-416A-9CD6-9E57595E7869}" destId="{AD0CC3C2-6C30-41E5-8D5C-0F100F89A69F}" srcOrd="0" destOrd="0" parTransId="{A868ADFB-BA1B-452B-AF96-E31EAEC9FA67}" sibTransId="{B3AF6531-6571-408E-B59F-B519944442C1}"/>
    <dgm:cxn modelId="{17613475-27C7-4CB9-8F50-81953BE2F1B2}" type="presOf" srcId="{ADD1E0A0-2A6E-40FF-8B54-56C03F026C23}" destId="{21213799-C6EC-4B6C-BD6A-F9239122B428}" srcOrd="1" destOrd="0" presId="urn:microsoft.com/office/officeart/2005/8/layout/matrix1"/>
    <dgm:cxn modelId="{C01AE486-92C5-41B7-B07D-8699330136BA}" type="presOf" srcId="{66946B72-7A38-4CA5-8EF0-45C536C4E9E0}" destId="{3E9A0887-2D5D-4DAE-804F-62F8C2626DA6}" srcOrd="1" destOrd="2" presId="urn:microsoft.com/office/officeart/2005/8/layout/matrix1"/>
    <dgm:cxn modelId="{56F1C78B-CC2A-41B3-B199-A79DA520C1B9}" srcId="{ADD1E0A0-2A6E-40FF-8B54-56C03F026C23}" destId="{8BF6D891-7DEC-4961-AE47-3EF3AE4CB801}" srcOrd="2" destOrd="0" parTransId="{C27F1291-D80F-48F3-9132-077A354E1F1A}" sibTransId="{62A3B812-FE57-4672-BB30-B1598B3FCEE0}"/>
    <dgm:cxn modelId="{9351D38D-10CA-4A9C-90F8-624EE6765B3D}" srcId="{AD0CC3C2-6C30-41E5-8D5C-0F100F89A69F}" destId="{66946B72-7A38-4CA5-8EF0-45C536C4E9E0}" srcOrd="1" destOrd="0" parTransId="{D7770F15-2DAF-41BD-B43D-6B2EC6BF5AF1}" sibTransId="{0B877791-5BB3-4C16-84B9-51ECFE4FCACE}"/>
    <dgm:cxn modelId="{AF97A18F-D171-4EF4-BB67-400D4CE3C919}" type="presOf" srcId="{15CB355B-2F24-4D78-8B6E-598D37227A81}" destId="{4BD267C2-97E0-4876-B460-09C1874104E1}" srcOrd="1" destOrd="1" presId="urn:microsoft.com/office/officeart/2005/8/layout/matrix1"/>
    <dgm:cxn modelId="{4B7E2A90-3B76-460D-BC28-8E2A3377089E}" type="presOf" srcId="{ADD1E0A0-2A6E-40FF-8B54-56C03F026C23}" destId="{60354FD4-489E-497F-972C-68EB99149FD2}" srcOrd="0" destOrd="0" presId="urn:microsoft.com/office/officeart/2005/8/layout/matrix1"/>
    <dgm:cxn modelId="{CB76EF90-9EE8-4886-BDD7-DB0CD0E9E12E}" type="presOf" srcId="{AD0CC3C2-6C30-41E5-8D5C-0F100F89A69F}" destId="{5F2F4D44-F72D-4F58-9EC5-7A91CE02A1AC}" srcOrd="0" destOrd="0" presId="urn:microsoft.com/office/officeart/2005/8/layout/matrix1"/>
    <dgm:cxn modelId="{DD6F4D91-0F23-46B5-84FB-F2289D4FAC7F}" type="presOf" srcId="{4729007F-A6DD-4D6A-8BC2-2106AF2CB7AB}" destId="{646B348B-80F2-49F4-8F91-F96DA82293DC}" srcOrd="1" destOrd="2" presId="urn:microsoft.com/office/officeart/2005/8/layout/matrix1"/>
    <dgm:cxn modelId="{47B56998-716E-4592-A0C2-B083D4844127}" type="presOf" srcId="{7FF7015D-FB07-4449-B0D5-94F439C57D7A}" destId="{25D87110-AB70-42D4-AD84-584C7914700D}" srcOrd="0" destOrd="1" presId="urn:microsoft.com/office/officeart/2005/8/layout/matrix1"/>
    <dgm:cxn modelId="{41AA25A5-7FDC-48DF-853F-48F72DDF2F85}" type="presOf" srcId="{15CB355B-2F24-4D78-8B6E-598D37227A81}" destId="{CC2AAF28-49BA-4934-A7EC-258A8E811484}" srcOrd="0" destOrd="1" presId="urn:microsoft.com/office/officeart/2005/8/layout/matrix1"/>
    <dgm:cxn modelId="{9A25ABA8-ACF2-40A2-BE67-C74F700C68FD}" type="presOf" srcId="{4D980055-AE5A-414C-AF2C-215269124AA3}" destId="{3E9A0887-2D5D-4DAE-804F-62F8C2626DA6}" srcOrd="1" destOrd="1" presId="urn:microsoft.com/office/officeart/2005/8/layout/matrix1"/>
    <dgm:cxn modelId="{86B601B6-8A0C-4847-AB69-ECDB24CD010E}" type="presOf" srcId="{7A07849C-9998-4E99-B265-62EC2A01DEA9}" destId="{5F2F4D44-F72D-4F58-9EC5-7A91CE02A1AC}" srcOrd="0" destOrd="3" presId="urn:microsoft.com/office/officeart/2005/8/layout/matrix1"/>
    <dgm:cxn modelId="{C1CAF8BB-6176-4E32-8537-CD21844783BA}" type="presOf" srcId="{66946B72-7A38-4CA5-8EF0-45C536C4E9E0}" destId="{5F2F4D44-F72D-4F58-9EC5-7A91CE02A1AC}" srcOrd="0" destOrd="2" presId="urn:microsoft.com/office/officeart/2005/8/layout/matrix1"/>
    <dgm:cxn modelId="{AC45D9BD-2B77-47C3-8698-EAC08B40CAF7}" type="presOf" srcId="{670ADA4A-2C3D-447E-AE82-AF1498FD4FB0}" destId="{60354FD4-489E-497F-972C-68EB99149FD2}" srcOrd="0" destOrd="1" presId="urn:microsoft.com/office/officeart/2005/8/layout/matrix1"/>
    <dgm:cxn modelId="{C4F5F9CC-6FFF-4810-B475-887C812A103D}" type="presOf" srcId="{68A4D96F-2794-49E6-B295-0BD3746BB9A8}" destId="{CC2AAF28-49BA-4934-A7EC-258A8E811484}" srcOrd="0" destOrd="2" presId="urn:microsoft.com/office/officeart/2005/8/layout/matrix1"/>
    <dgm:cxn modelId="{A90B48D2-1101-4AB4-BD60-9D0A267B841B}" type="presOf" srcId="{CDDF67D8-2F0F-49C8-AADC-763B1E98DDAD}" destId="{CC2AAF28-49BA-4934-A7EC-258A8E811484}" srcOrd="0" destOrd="0" presId="urn:microsoft.com/office/officeart/2005/8/layout/matrix1"/>
    <dgm:cxn modelId="{388790EC-C976-45E5-BCDB-B7347A15F4F5}" srcId="{CDDF67D8-2F0F-49C8-AADC-763B1E98DDAD}" destId="{68A4D96F-2794-49E6-B295-0BD3746BB9A8}" srcOrd="1" destOrd="0" parTransId="{5CC7E045-4A1B-4B1B-8D95-201E3D8858CE}" sibTransId="{98C60098-15B0-4697-83A7-288103858751}"/>
    <dgm:cxn modelId="{3661AEF0-C2EE-4371-9000-73644550AE68}" type="presOf" srcId="{479D8168-9D63-400B-B6B5-1443C3FD050D}" destId="{21213799-C6EC-4B6C-BD6A-F9239122B428}" srcOrd="1" destOrd="2" presId="urn:microsoft.com/office/officeart/2005/8/layout/matrix1"/>
    <dgm:cxn modelId="{2F2424F4-9744-42FE-9CCD-34288AE192E7}" srcId="{AD0CC3C2-6C30-41E5-8D5C-0F100F89A69F}" destId="{4D980055-AE5A-414C-AF2C-215269124AA3}" srcOrd="0" destOrd="0" parTransId="{D2CEE3A6-EDF6-40BD-A419-C3638AB2114E}" sibTransId="{488B89E0-E771-44AB-90E8-EC8ACE338E0F}"/>
    <dgm:cxn modelId="{BA5EE0F7-C55C-450B-832C-5E1574C05F3A}" type="presOf" srcId="{670ADA4A-2C3D-447E-AE82-AF1498FD4FB0}" destId="{21213799-C6EC-4B6C-BD6A-F9239122B428}" srcOrd="1" destOrd="1" presId="urn:microsoft.com/office/officeart/2005/8/layout/matrix1"/>
    <dgm:cxn modelId="{115848F8-AA5D-462B-B2EE-538647E790E4}" srcId="{9ED57022-3148-4A62-ABDB-BE6DAA2EAF47}" destId="{9A676BFA-3B5B-416A-9CD6-9E57595E7869}" srcOrd="0" destOrd="0" parTransId="{D9F24D54-66F0-41E7-94EA-945F8B704D2B}" sibTransId="{5B559AC2-DA69-4BFC-A1F9-98CEA3CD711E}"/>
    <dgm:cxn modelId="{2796A7F8-61FA-4CE4-81B6-7A2E3E744055}" srcId="{9A676BFA-3B5B-416A-9CD6-9E57595E7869}" destId="{E9DEA884-D050-44B3-BB2C-571406846606}" srcOrd="2" destOrd="0" parTransId="{2373D72F-BB03-4909-AE8A-5C8125673FB6}" sibTransId="{FB18FF3E-974C-42C5-9C0E-4E396D8C7977}"/>
    <dgm:cxn modelId="{6D95F4F8-5A6E-499F-ADA2-A0955B7F2165}" type="presOf" srcId="{7A07849C-9998-4E99-B265-62EC2A01DEA9}" destId="{3E9A0887-2D5D-4DAE-804F-62F8C2626DA6}" srcOrd="1" destOrd="3" presId="urn:microsoft.com/office/officeart/2005/8/layout/matrix1"/>
    <dgm:cxn modelId="{B6F590F9-A5F0-470A-9676-9F57BF090FD0}" type="presOf" srcId="{8BF6D891-7DEC-4961-AE47-3EF3AE4CB801}" destId="{60354FD4-489E-497F-972C-68EB99149FD2}" srcOrd="0" destOrd="3" presId="urn:microsoft.com/office/officeart/2005/8/layout/matrix1"/>
    <dgm:cxn modelId="{D19F37FB-60BE-4878-9A3F-6F79A12CEEC3}" type="presOf" srcId="{4D980055-AE5A-414C-AF2C-215269124AA3}" destId="{5F2F4D44-F72D-4F58-9EC5-7A91CE02A1AC}" srcOrd="0" destOrd="1" presId="urn:microsoft.com/office/officeart/2005/8/layout/matrix1"/>
    <dgm:cxn modelId="{CCBDEEFE-2483-414A-A7C3-0E882910EAD5}" type="presOf" srcId="{479D8168-9D63-400B-B6B5-1443C3FD050D}" destId="{60354FD4-489E-497F-972C-68EB99149FD2}" srcOrd="0" destOrd="2" presId="urn:microsoft.com/office/officeart/2005/8/layout/matrix1"/>
    <dgm:cxn modelId="{60FF0419-2A68-468A-A75C-5A3448F5CF2C}" type="presParOf" srcId="{27963A04-D786-43E7-9B5A-F0F7C3067948}" destId="{92ED71FB-0A05-4C7D-9094-6F4311AA52C6}" srcOrd="0" destOrd="0" presId="urn:microsoft.com/office/officeart/2005/8/layout/matrix1"/>
    <dgm:cxn modelId="{1F2438B2-C08F-4229-AC11-D9ED3B3D5880}" type="presParOf" srcId="{92ED71FB-0A05-4C7D-9094-6F4311AA52C6}" destId="{5F2F4D44-F72D-4F58-9EC5-7A91CE02A1AC}" srcOrd="0" destOrd="0" presId="urn:microsoft.com/office/officeart/2005/8/layout/matrix1"/>
    <dgm:cxn modelId="{2D90CE39-4E74-49F9-B0A9-EEDF2652F2BF}" type="presParOf" srcId="{92ED71FB-0A05-4C7D-9094-6F4311AA52C6}" destId="{3E9A0887-2D5D-4DAE-804F-62F8C2626DA6}" srcOrd="1" destOrd="0" presId="urn:microsoft.com/office/officeart/2005/8/layout/matrix1"/>
    <dgm:cxn modelId="{657FC365-3477-4280-BB06-1FB84D7A6F6F}" type="presParOf" srcId="{92ED71FB-0A05-4C7D-9094-6F4311AA52C6}" destId="{CC2AAF28-49BA-4934-A7EC-258A8E811484}" srcOrd="2" destOrd="0" presId="urn:microsoft.com/office/officeart/2005/8/layout/matrix1"/>
    <dgm:cxn modelId="{7A21673F-0B3D-4D6D-8AAE-6ACD76EDF54C}" type="presParOf" srcId="{92ED71FB-0A05-4C7D-9094-6F4311AA52C6}" destId="{4BD267C2-97E0-4876-B460-09C1874104E1}" srcOrd="3" destOrd="0" presId="urn:microsoft.com/office/officeart/2005/8/layout/matrix1"/>
    <dgm:cxn modelId="{826AB0FE-0217-44B6-839A-E361A2DD82D6}" type="presParOf" srcId="{92ED71FB-0A05-4C7D-9094-6F4311AA52C6}" destId="{25D87110-AB70-42D4-AD84-584C7914700D}" srcOrd="4" destOrd="0" presId="urn:microsoft.com/office/officeart/2005/8/layout/matrix1"/>
    <dgm:cxn modelId="{B691230D-0D88-4F0B-96EA-1CDE0B7B84A2}" type="presParOf" srcId="{92ED71FB-0A05-4C7D-9094-6F4311AA52C6}" destId="{646B348B-80F2-49F4-8F91-F96DA82293DC}" srcOrd="5" destOrd="0" presId="urn:microsoft.com/office/officeart/2005/8/layout/matrix1"/>
    <dgm:cxn modelId="{2BB13656-7E68-4445-95DE-380BF6DA5562}" type="presParOf" srcId="{92ED71FB-0A05-4C7D-9094-6F4311AA52C6}" destId="{60354FD4-489E-497F-972C-68EB99149FD2}" srcOrd="6" destOrd="0" presId="urn:microsoft.com/office/officeart/2005/8/layout/matrix1"/>
    <dgm:cxn modelId="{F71B7373-D1FE-41FD-BE7B-B0162328A3A2}" type="presParOf" srcId="{92ED71FB-0A05-4C7D-9094-6F4311AA52C6}" destId="{21213799-C6EC-4B6C-BD6A-F9239122B428}" srcOrd="7" destOrd="0" presId="urn:microsoft.com/office/officeart/2005/8/layout/matrix1"/>
    <dgm:cxn modelId="{17BA41EB-5ED1-443F-88C8-5E8E3B07E904}" type="presParOf" srcId="{27963A04-D786-43E7-9B5A-F0F7C3067948}" destId="{66B86633-D365-4B0A-91E9-9DF687A445C0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ED57022-3148-4A62-ABDB-BE6DAA2EAF47}" type="doc">
      <dgm:prSet loTypeId="urn:microsoft.com/office/officeart/2005/8/layout/matrix1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nb-NO"/>
        </a:p>
      </dgm:t>
    </dgm:pt>
    <dgm:pt modelId="{9A676BFA-3B5B-416A-9CD6-9E57595E7869}">
      <dgm:prSet phldrT="[Tekst]"/>
      <dgm:spPr/>
      <dgm:t>
        <a:bodyPr/>
        <a:lstStyle/>
        <a:p>
          <a:r>
            <a:rPr lang="nb-NO"/>
            <a:t>Språkferdigheter</a:t>
          </a:r>
        </a:p>
      </dgm:t>
    </dgm:pt>
    <dgm:pt modelId="{D9F24D54-66F0-41E7-94EA-945F8B704D2B}" type="parTrans" cxnId="{115848F8-AA5D-462B-B2EE-538647E790E4}">
      <dgm:prSet/>
      <dgm:spPr/>
      <dgm:t>
        <a:bodyPr/>
        <a:lstStyle/>
        <a:p>
          <a:endParaRPr lang="nb-NO"/>
        </a:p>
      </dgm:t>
    </dgm:pt>
    <dgm:pt modelId="{5B559AC2-DA69-4BFC-A1F9-98CEA3CD711E}" type="sibTrans" cxnId="{115848F8-AA5D-462B-B2EE-538647E790E4}">
      <dgm:prSet/>
      <dgm:spPr/>
      <dgm:t>
        <a:bodyPr/>
        <a:lstStyle/>
        <a:p>
          <a:endParaRPr lang="nb-NO"/>
        </a:p>
      </dgm:t>
    </dgm:pt>
    <dgm:pt modelId="{AD0CC3C2-6C30-41E5-8D5C-0F100F89A69F}">
      <dgm:prSet phldrT="[Tekst]"/>
      <dgm:spPr>
        <a:solidFill>
          <a:schemeClr val="accent5"/>
        </a:solidFill>
      </dgm:spPr>
      <dgm:t>
        <a:bodyPr/>
        <a:lstStyle/>
        <a:p>
          <a:r>
            <a:rPr lang="nb-NO"/>
            <a:t>Tilgang</a:t>
          </a:r>
        </a:p>
      </dgm:t>
    </dgm:pt>
    <dgm:pt modelId="{A868ADFB-BA1B-452B-AF96-E31EAEC9FA67}" type="parTrans" cxnId="{F66A2968-63A8-4DA6-8017-3111789D9AE4}">
      <dgm:prSet/>
      <dgm:spPr/>
      <dgm:t>
        <a:bodyPr/>
        <a:lstStyle/>
        <a:p>
          <a:endParaRPr lang="nb-NO"/>
        </a:p>
      </dgm:t>
    </dgm:pt>
    <dgm:pt modelId="{B3AF6531-6571-408E-B59F-B519944442C1}" type="sibTrans" cxnId="{F66A2968-63A8-4DA6-8017-3111789D9AE4}">
      <dgm:prSet/>
      <dgm:spPr/>
      <dgm:t>
        <a:bodyPr/>
        <a:lstStyle/>
        <a:p>
          <a:endParaRPr lang="nb-NO"/>
        </a:p>
      </dgm:t>
    </dgm:pt>
    <dgm:pt modelId="{CDDF67D8-2F0F-49C8-AADC-763B1E98DDAD}">
      <dgm:prSet phldrT="[Tekst]"/>
      <dgm:spPr/>
      <dgm:t>
        <a:bodyPr/>
        <a:lstStyle/>
        <a:p>
          <a:r>
            <a:rPr lang="nb-NO" b="0"/>
            <a:t>Digital kompetanse</a:t>
          </a:r>
        </a:p>
      </dgm:t>
    </dgm:pt>
    <dgm:pt modelId="{888F5900-92E6-47D0-93F7-1D61D734DE9F}" type="parTrans" cxnId="{BD1BAD13-E2D3-450F-8089-86F9B2880628}">
      <dgm:prSet/>
      <dgm:spPr/>
      <dgm:t>
        <a:bodyPr/>
        <a:lstStyle/>
        <a:p>
          <a:endParaRPr lang="nb-NO"/>
        </a:p>
      </dgm:t>
    </dgm:pt>
    <dgm:pt modelId="{EE8F1F11-B4BE-4E5D-BF45-B84B88F8F15A}" type="sibTrans" cxnId="{BD1BAD13-E2D3-450F-8089-86F9B2880628}">
      <dgm:prSet/>
      <dgm:spPr/>
      <dgm:t>
        <a:bodyPr/>
        <a:lstStyle/>
        <a:p>
          <a:endParaRPr lang="nb-NO"/>
        </a:p>
      </dgm:t>
    </dgm:pt>
    <dgm:pt modelId="{E9DEA884-D050-44B3-BB2C-571406846606}">
      <dgm:prSet phldrT="[Tekst]"/>
      <dgm:spPr/>
      <dgm:t>
        <a:bodyPr/>
        <a:lstStyle/>
        <a:p>
          <a:r>
            <a:rPr lang="nb-NO"/>
            <a:t>Helse- og livssituasjon</a:t>
          </a:r>
        </a:p>
      </dgm:t>
    </dgm:pt>
    <dgm:pt modelId="{2373D72F-BB03-4909-AE8A-5C8125673FB6}" type="parTrans" cxnId="{2796A7F8-61FA-4CE4-81B6-7A2E3E744055}">
      <dgm:prSet/>
      <dgm:spPr/>
      <dgm:t>
        <a:bodyPr/>
        <a:lstStyle/>
        <a:p>
          <a:endParaRPr lang="nb-NO"/>
        </a:p>
      </dgm:t>
    </dgm:pt>
    <dgm:pt modelId="{FB18FF3E-974C-42C5-9C0E-4E396D8C7977}" type="sibTrans" cxnId="{2796A7F8-61FA-4CE4-81B6-7A2E3E744055}">
      <dgm:prSet/>
      <dgm:spPr/>
      <dgm:t>
        <a:bodyPr/>
        <a:lstStyle/>
        <a:p>
          <a:endParaRPr lang="nb-NO"/>
        </a:p>
      </dgm:t>
    </dgm:pt>
    <dgm:pt modelId="{ADD1E0A0-2A6E-40FF-8B54-56C03F026C23}">
      <dgm:prSet phldrT="[Tekst]"/>
      <dgm:spPr>
        <a:solidFill>
          <a:schemeClr val="accent6"/>
        </a:solidFill>
      </dgm:spPr>
      <dgm:t>
        <a:bodyPr/>
        <a:lstStyle/>
        <a:p>
          <a:r>
            <a:rPr lang="nb-NO"/>
            <a:t>Forvaltningsforståelse</a:t>
          </a:r>
        </a:p>
      </dgm:t>
    </dgm:pt>
    <dgm:pt modelId="{4E965D03-F84A-4A33-9E8B-24910811C1D2}" type="parTrans" cxnId="{FF6EC539-DCEB-45B0-9A7B-54D64C112981}">
      <dgm:prSet/>
      <dgm:spPr/>
      <dgm:t>
        <a:bodyPr/>
        <a:lstStyle/>
        <a:p>
          <a:endParaRPr lang="nb-NO"/>
        </a:p>
      </dgm:t>
    </dgm:pt>
    <dgm:pt modelId="{B36FFF25-1ACF-4D55-81B6-2A385121126D}" type="sibTrans" cxnId="{FF6EC539-DCEB-45B0-9A7B-54D64C112981}">
      <dgm:prSet/>
      <dgm:spPr/>
      <dgm:t>
        <a:bodyPr/>
        <a:lstStyle/>
        <a:p>
          <a:endParaRPr lang="nb-NO"/>
        </a:p>
      </dgm:t>
    </dgm:pt>
    <dgm:pt modelId="{27963A04-D786-43E7-9B5A-F0F7C3067948}" type="pres">
      <dgm:prSet presAssocID="{9ED57022-3148-4A62-ABDB-BE6DAA2EAF47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2ED71FB-0A05-4C7D-9094-6F4311AA52C6}" type="pres">
      <dgm:prSet presAssocID="{9ED57022-3148-4A62-ABDB-BE6DAA2EAF47}" presName="matrix" presStyleCnt="0"/>
      <dgm:spPr/>
    </dgm:pt>
    <dgm:pt modelId="{5F2F4D44-F72D-4F58-9EC5-7A91CE02A1AC}" type="pres">
      <dgm:prSet presAssocID="{9ED57022-3148-4A62-ABDB-BE6DAA2EAF47}" presName="tile1" presStyleLbl="node1" presStyleIdx="0" presStyleCnt="4"/>
      <dgm:spPr/>
    </dgm:pt>
    <dgm:pt modelId="{3E9A0887-2D5D-4DAE-804F-62F8C2626DA6}" type="pres">
      <dgm:prSet presAssocID="{9ED57022-3148-4A62-ABDB-BE6DAA2EAF4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C2AAF28-49BA-4934-A7EC-258A8E811484}" type="pres">
      <dgm:prSet presAssocID="{9ED57022-3148-4A62-ABDB-BE6DAA2EAF47}" presName="tile2" presStyleLbl="node1" presStyleIdx="1" presStyleCnt="4"/>
      <dgm:spPr/>
    </dgm:pt>
    <dgm:pt modelId="{4BD267C2-97E0-4876-B460-09C1874104E1}" type="pres">
      <dgm:prSet presAssocID="{9ED57022-3148-4A62-ABDB-BE6DAA2EAF4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5D87110-AB70-42D4-AD84-584C7914700D}" type="pres">
      <dgm:prSet presAssocID="{9ED57022-3148-4A62-ABDB-BE6DAA2EAF47}" presName="tile3" presStyleLbl="node1" presStyleIdx="2" presStyleCnt="4"/>
      <dgm:spPr/>
    </dgm:pt>
    <dgm:pt modelId="{646B348B-80F2-49F4-8F91-F96DA82293DC}" type="pres">
      <dgm:prSet presAssocID="{9ED57022-3148-4A62-ABDB-BE6DAA2EAF4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0354FD4-489E-497F-972C-68EB99149FD2}" type="pres">
      <dgm:prSet presAssocID="{9ED57022-3148-4A62-ABDB-BE6DAA2EAF47}" presName="tile4" presStyleLbl="node1" presStyleIdx="3" presStyleCnt="4"/>
      <dgm:spPr/>
    </dgm:pt>
    <dgm:pt modelId="{21213799-C6EC-4B6C-BD6A-F9239122B428}" type="pres">
      <dgm:prSet presAssocID="{9ED57022-3148-4A62-ABDB-BE6DAA2EAF4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66B86633-D365-4B0A-91E9-9DF687A445C0}" type="pres">
      <dgm:prSet presAssocID="{9ED57022-3148-4A62-ABDB-BE6DAA2EAF47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A1DCAF00-89A8-4D8B-AB15-7D97C349C426}" type="presOf" srcId="{E9DEA884-D050-44B3-BB2C-571406846606}" destId="{646B348B-80F2-49F4-8F91-F96DA82293DC}" srcOrd="1" destOrd="0" presId="urn:microsoft.com/office/officeart/2005/8/layout/matrix1"/>
    <dgm:cxn modelId="{BD1BAD13-E2D3-450F-8089-86F9B2880628}" srcId="{9A676BFA-3B5B-416A-9CD6-9E57595E7869}" destId="{CDDF67D8-2F0F-49C8-AADC-763B1E98DDAD}" srcOrd="1" destOrd="0" parTransId="{888F5900-92E6-47D0-93F7-1D61D734DE9F}" sibTransId="{EE8F1F11-B4BE-4E5D-BF45-B84B88F8F15A}"/>
    <dgm:cxn modelId="{257AC414-B8AB-4D52-A0AB-55F3889264A9}" type="presOf" srcId="{CDDF67D8-2F0F-49C8-AADC-763B1E98DDAD}" destId="{4BD267C2-97E0-4876-B460-09C1874104E1}" srcOrd="1" destOrd="0" presId="urn:microsoft.com/office/officeart/2005/8/layout/matrix1"/>
    <dgm:cxn modelId="{73E66026-AC36-4BA9-A479-C7989155FCB5}" type="presOf" srcId="{9A676BFA-3B5B-416A-9CD6-9E57595E7869}" destId="{66B86633-D365-4B0A-91E9-9DF687A445C0}" srcOrd="0" destOrd="0" presId="urn:microsoft.com/office/officeart/2005/8/layout/matrix1"/>
    <dgm:cxn modelId="{D7C3812C-2950-4A7C-8BFE-317661298AD2}" type="presOf" srcId="{E9DEA884-D050-44B3-BB2C-571406846606}" destId="{25D87110-AB70-42D4-AD84-584C7914700D}" srcOrd="0" destOrd="0" presId="urn:microsoft.com/office/officeart/2005/8/layout/matrix1"/>
    <dgm:cxn modelId="{FF6EC539-DCEB-45B0-9A7B-54D64C112981}" srcId="{9A676BFA-3B5B-416A-9CD6-9E57595E7869}" destId="{ADD1E0A0-2A6E-40FF-8B54-56C03F026C23}" srcOrd="3" destOrd="0" parTransId="{4E965D03-F84A-4A33-9E8B-24910811C1D2}" sibTransId="{B36FFF25-1ACF-4D55-81B6-2A385121126D}"/>
    <dgm:cxn modelId="{05E2ED39-C52E-424C-BC88-64343C67A81F}" type="presOf" srcId="{AD0CC3C2-6C30-41E5-8D5C-0F100F89A69F}" destId="{3E9A0887-2D5D-4DAE-804F-62F8C2626DA6}" srcOrd="1" destOrd="0" presId="urn:microsoft.com/office/officeart/2005/8/layout/matrix1"/>
    <dgm:cxn modelId="{31118361-0B7C-47AD-83F9-5041ED21EA81}" type="presOf" srcId="{9ED57022-3148-4A62-ABDB-BE6DAA2EAF47}" destId="{27963A04-D786-43E7-9B5A-F0F7C3067948}" srcOrd="0" destOrd="0" presId="urn:microsoft.com/office/officeart/2005/8/layout/matrix1"/>
    <dgm:cxn modelId="{F66A2968-63A8-4DA6-8017-3111789D9AE4}" srcId="{9A676BFA-3B5B-416A-9CD6-9E57595E7869}" destId="{AD0CC3C2-6C30-41E5-8D5C-0F100F89A69F}" srcOrd="0" destOrd="0" parTransId="{A868ADFB-BA1B-452B-AF96-E31EAEC9FA67}" sibTransId="{B3AF6531-6571-408E-B59F-B519944442C1}"/>
    <dgm:cxn modelId="{CB76EF90-9EE8-4886-BDD7-DB0CD0E9E12E}" type="presOf" srcId="{AD0CC3C2-6C30-41E5-8D5C-0F100F89A69F}" destId="{5F2F4D44-F72D-4F58-9EC5-7A91CE02A1AC}" srcOrd="0" destOrd="0" presId="urn:microsoft.com/office/officeart/2005/8/layout/matrix1"/>
    <dgm:cxn modelId="{CC99509E-5B86-4297-8BEA-C687D408F77D}" type="presOf" srcId="{ADD1E0A0-2A6E-40FF-8B54-56C03F026C23}" destId="{60354FD4-489E-497F-972C-68EB99149FD2}" srcOrd="0" destOrd="0" presId="urn:microsoft.com/office/officeart/2005/8/layout/matrix1"/>
    <dgm:cxn modelId="{BE9810A9-1CC6-4B65-B0D5-CF5CAA47F0E7}" type="presOf" srcId="{ADD1E0A0-2A6E-40FF-8B54-56C03F026C23}" destId="{21213799-C6EC-4B6C-BD6A-F9239122B428}" srcOrd="1" destOrd="0" presId="urn:microsoft.com/office/officeart/2005/8/layout/matrix1"/>
    <dgm:cxn modelId="{A90B48D2-1101-4AB4-BD60-9D0A267B841B}" type="presOf" srcId="{CDDF67D8-2F0F-49C8-AADC-763B1E98DDAD}" destId="{CC2AAF28-49BA-4934-A7EC-258A8E811484}" srcOrd="0" destOrd="0" presId="urn:microsoft.com/office/officeart/2005/8/layout/matrix1"/>
    <dgm:cxn modelId="{115848F8-AA5D-462B-B2EE-538647E790E4}" srcId="{9ED57022-3148-4A62-ABDB-BE6DAA2EAF47}" destId="{9A676BFA-3B5B-416A-9CD6-9E57595E7869}" srcOrd="0" destOrd="0" parTransId="{D9F24D54-66F0-41E7-94EA-945F8B704D2B}" sibTransId="{5B559AC2-DA69-4BFC-A1F9-98CEA3CD711E}"/>
    <dgm:cxn modelId="{2796A7F8-61FA-4CE4-81B6-7A2E3E744055}" srcId="{9A676BFA-3B5B-416A-9CD6-9E57595E7869}" destId="{E9DEA884-D050-44B3-BB2C-571406846606}" srcOrd="2" destOrd="0" parTransId="{2373D72F-BB03-4909-AE8A-5C8125673FB6}" sibTransId="{FB18FF3E-974C-42C5-9C0E-4E396D8C7977}"/>
    <dgm:cxn modelId="{60FF0419-2A68-468A-A75C-5A3448F5CF2C}" type="presParOf" srcId="{27963A04-D786-43E7-9B5A-F0F7C3067948}" destId="{92ED71FB-0A05-4C7D-9094-6F4311AA52C6}" srcOrd="0" destOrd="0" presId="urn:microsoft.com/office/officeart/2005/8/layout/matrix1"/>
    <dgm:cxn modelId="{1F2438B2-C08F-4229-AC11-D9ED3B3D5880}" type="presParOf" srcId="{92ED71FB-0A05-4C7D-9094-6F4311AA52C6}" destId="{5F2F4D44-F72D-4F58-9EC5-7A91CE02A1AC}" srcOrd="0" destOrd="0" presId="urn:microsoft.com/office/officeart/2005/8/layout/matrix1"/>
    <dgm:cxn modelId="{2D90CE39-4E74-49F9-B0A9-EEDF2652F2BF}" type="presParOf" srcId="{92ED71FB-0A05-4C7D-9094-6F4311AA52C6}" destId="{3E9A0887-2D5D-4DAE-804F-62F8C2626DA6}" srcOrd="1" destOrd="0" presId="urn:microsoft.com/office/officeart/2005/8/layout/matrix1"/>
    <dgm:cxn modelId="{657FC365-3477-4280-BB06-1FB84D7A6F6F}" type="presParOf" srcId="{92ED71FB-0A05-4C7D-9094-6F4311AA52C6}" destId="{CC2AAF28-49BA-4934-A7EC-258A8E811484}" srcOrd="2" destOrd="0" presId="urn:microsoft.com/office/officeart/2005/8/layout/matrix1"/>
    <dgm:cxn modelId="{7A21673F-0B3D-4D6D-8AAE-6ACD76EDF54C}" type="presParOf" srcId="{92ED71FB-0A05-4C7D-9094-6F4311AA52C6}" destId="{4BD267C2-97E0-4876-B460-09C1874104E1}" srcOrd="3" destOrd="0" presId="urn:microsoft.com/office/officeart/2005/8/layout/matrix1"/>
    <dgm:cxn modelId="{826AB0FE-0217-44B6-839A-E361A2DD82D6}" type="presParOf" srcId="{92ED71FB-0A05-4C7D-9094-6F4311AA52C6}" destId="{25D87110-AB70-42D4-AD84-584C7914700D}" srcOrd="4" destOrd="0" presId="urn:microsoft.com/office/officeart/2005/8/layout/matrix1"/>
    <dgm:cxn modelId="{B691230D-0D88-4F0B-96EA-1CDE0B7B84A2}" type="presParOf" srcId="{92ED71FB-0A05-4C7D-9094-6F4311AA52C6}" destId="{646B348B-80F2-49F4-8F91-F96DA82293DC}" srcOrd="5" destOrd="0" presId="urn:microsoft.com/office/officeart/2005/8/layout/matrix1"/>
    <dgm:cxn modelId="{2BB13656-7E68-4445-95DE-380BF6DA5562}" type="presParOf" srcId="{92ED71FB-0A05-4C7D-9094-6F4311AA52C6}" destId="{60354FD4-489E-497F-972C-68EB99149FD2}" srcOrd="6" destOrd="0" presId="urn:microsoft.com/office/officeart/2005/8/layout/matrix1"/>
    <dgm:cxn modelId="{F71B7373-D1FE-41FD-BE7B-B0162328A3A2}" type="presParOf" srcId="{92ED71FB-0A05-4C7D-9094-6F4311AA52C6}" destId="{21213799-C6EC-4B6C-BD6A-F9239122B428}" srcOrd="7" destOrd="0" presId="urn:microsoft.com/office/officeart/2005/8/layout/matrix1"/>
    <dgm:cxn modelId="{17BA41EB-5ED1-443F-88C8-5E8E3B07E904}" type="presParOf" srcId="{27963A04-D786-43E7-9B5A-F0F7C3067948}" destId="{66B86633-D365-4B0A-91E9-9DF687A445C0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97120F-8B02-4E95-A5C1-4923A4EFC5A0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96497368-8EFB-4960-9663-365F7E986B03}">
      <dgm:prSet phldrT="[Tekst]"/>
      <dgm:spPr/>
      <dgm:t>
        <a:bodyPr/>
        <a:lstStyle/>
        <a:p>
          <a:r>
            <a:rPr lang="nb-NO"/>
            <a:t>Rett til å reservere seg mot digital kommunikasjon</a:t>
          </a:r>
        </a:p>
      </dgm:t>
    </dgm:pt>
    <dgm:pt modelId="{E1658ABF-EF74-4282-A441-FB8403437E23}" type="parTrans" cxnId="{35AC9B40-691E-449D-A7AA-08B12A9DC3A9}">
      <dgm:prSet/>
      <dgm:spPr/>
      <dgm:t>
        <a:bodyPr/>
        <a:lstStyle/>
        <a:p>
          <a:endParaRPr lang="nb-NO"/>
        </a:p>
      </dgm:t>
    </dgm:pt>
    <dgm:pt modelId="{2F566469-3515-4BF5-8B12-13CA2AED4F43}" type="sibTrans" cxnId="{35AC9B40-691E-449D-A7AA-08B12A9DC3A9}">
      <dgm:prSet/>
      <dgm:spPr/>
      <dgm:t>
        <a:bodyPr/>
        <a:lstStyle/>
        <a:p>
          <a:endParaRPr lang="nb-NO"/>
        </a:p>
      </dgm:t>
    </dgm:pt>
    <dgm:pt modelId="{891991F3-E0C1-4EC1-BD8F-9ACF79F47ABA}">
      <dgm:prSet phldrT="[Tekst]"/>
      <dgm:spPr/>
      <dgm:t>
        <a:bodyPr/>
        <a:lstStyle/>
        <a:p>
          <a:r>
            <a:rPr lang="nb-NO"/>
            <a:t>Rett til å få hjelp med offentlige digitale gjøremål</a:t>
          </a:r>
        </a:p>
      </dgm:t>
    </dgm:pt>
    <dgm:pt modelId="{3E455020-E3F1-4FFE-B931-6BDEF57932ED}" type="parTrans" cxnId="{D576DCB3-FF6C-4259-BFEE-3CAF0825666E}">
      <dgm:prSet/>
      <dgm:spPr/>
      <dgm:t>
        <a:bodyPr/>
        <a:lstStyle/>
        <a:p>
          <a:endParaRPr lang="nb-NO"/>
        </a:p>
      </dgm:t>
    </dgm:pt>
    <dgm:pt modelId="{6E8053F2-599F-48F9-A3EC-0ABDD9CDE4BA}" type="sibTrans" cxnId="{D576DCB3-FF6C-4259-BFEE-3CAF0825666E}">
      <dgm:prSet/>
      <dgm:spPr/>
      <dgm:t>
        <a:bodyPr/>
        <a:lstStyle/>
        <a:p>
          <a:endParaRPr lang="nb-NO"/>
        </a:p>
      </dgm:t>
    </dgm:pt>
    <dgm:pt modelId="{FEED4BF5-0930-4D71-A120-2D184324D863}" type="pres">
      <dgm:prSet presAssocID="{EB97120F-8B02-4E95-A5C1-4923A4EFC5A0}" presName="diagram" presStyleCnt="0">
        <dgm:presLayoutVars>
          <dgm:dir/>
          <dgm:resizeHandles val="exact"/>
        </dgm:presLayoutVars>
      </dgm:prSet>
      <dgm:spPr/>
    </dgm:pt>
    <dgm:pt modelId="{06CAE28B-AFCA-4A63-97D5-B3150DE772B5}" type="pres">
      <dgm:prSet presAssocID="{96497368-8EFB-4960-9663-365F7E986B03}" presName="node" presStyleLbl="node1" presStyleIdx="0" presStyleCnt="2">
        <dgm:presLayoutVars>
          <dgm:bulletEnabled val="1"/>
        </dgm:presLayoutVars>
      </dgm:prSet>
      <dgm:spPr/>
    </dgm:pt>
    <dgm:pt modelId="{71C1ACA8-DF87-467B-A7A0-CAF0CA49BFF5}" type="pres">
      <dgm:prSet presAssocID="{2F566469-3515-4BF5-8B12-13CA2AED4F43}" presName="sibTrans" presStyleCnt="0"/>
      <dgm:spPr/>
    </dgm:pt>
    <dgm:pt modelId="{CC02A3C6-48BB-4DCC-8A17-E97DC53F83F7}" type="pres">
      <dgm:prSet presAssocID="{891991F3-E0C1-4EC1-BD8F-9ACF79F47ABA}" presName="node" presStyleLbl="node1" presStyleIdx="1" presStyleCnt="2">
        <dgm:presLayoutVars>
          <dgm:bulletEnabled val="1"/>
        </dgm:presLayoutVars>
      </dgm:prSet>
      <dgm:spPr/>
    </dgm:pt>
  </dgm:ptLst>
  <dgm:cxnLst>
    <dgm:cxn modelId="{66D7DA09-5E0F-484C-8596-F1620FD94A6C}" type="presOf" srcId="{96497368-8EFB-4960-9663-365F7E986B03}" destId="{06CAE28B-AFCA-4A63-97D5-B3150DE772B5}" srcOrd="0" destOrd="0" presId="urn:microsoft.com/office/officeart/2005/8/layout/default"/>
    <dgm:cxn modelId="{35AC9B40-691E-449D-A7AA-08B12A9DC3A9}" srcId="{EB97120F-8B02-4E95-A5C1-4923A4EFC5A0}" destId="{96497368-8EFB-4960-9663-365F7E986B03}" srcOrd="0" destOrd="0" parTransId="{E1658ABF-EF74-4282-A441-FB8403437E23}" sibTransId="{2F566469-3515-4BF5-8B12-13CA2AED4F43}"/>
    <dgm:cxn modelId="{D576DCB3-FF6C-4259-BFEE-3CAF0825666E}" srcId="{EB97120F-8B02-4E95-A5C1-4923A4EFC5A0}" destId="{891991F3-E0C1-4EC1-BD8F-9ACF79F47ABA}" srcOrd="1" destOrd="0" parTransId="{3E455020-E3F1-4FFE-B931-6BDEF57932ED}" sibTransId="{6E8053F2-599F-48F9-A3EC-0ABDD9CDE4BA}"/>
    <dgm:cxn modelId="{1C6D6FD0-68ED-4AA5-9EA5-67E89B724564}" type="presOf" srcId="{891991F3-E0C1-4EC1-BD8F-9ACF79F47ABA}" destId="{CC02A3C6-48BB-4DCC-8A17-E97DC53F83F7}" srcOrd="0" destOrd="0" presId="urn:microsoft.com/office/officeart/2005/8/layout/default"/>
    <dgm:cxn modelId="{F4A128D7-EA0C-4151-A6E7-869810CA73E0}" type="presOf" srcId="{EB97120F-8B02-4E95-A5C1-4923A4EFC5A0}" destId="{FEED4BF5-0930-4D71-A120-2D184324D863}" srcOrd="0" destOrd="0" presId="urn:microsoft.com/office/officeart/2005/8/layout/default"/>
    <dgm:cxn modelId="{504F0B34-1A12-4747-9F2E-E523DD0A1AF7}" type="presParOf" srcId="{FEED4BF5-0930-4D71-A120-2D184324D863}" destId="{06CAE28B-AFCA-4A63-97D5-B3150DE772B5}" srcOrd="0" destOrd="0" presId="urn:microsoft.com/office/officeart/2005/8/layout/default"/>
    <dgm:cxn modelId="{C29AD14C-09A2-41FE-AB81-CE7C462A7E65}" type="presParOf" srcId="{FEED4BF5-0930-4D71-A120-2D184324D863}" destId="{71C1ACA8-DF87-467B-A7A0-CAF0CA49BFF5}" srcOrd="1" destOrd="0" presId="urn:microsoft.com/office/officeart/2005/8/layout/default"/>
    <dgm:cxn modelId="{DE3B95F1-A389-4C44-93DC-47EB75545EED}" type="presParOf" srcId="{FEED4BF5-0930-4D71-A120-2D184324D863}" destId="{CC02A3C6-48BB-4DCC-8A17-E97DC53F83F7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2F4D44-F72D-4F58-9EC5-7A91CE02A1AC}">
      <dsp:nvSpPr>
        <dsp:cNvPr id="0" name=""/>
        <dsp:cNvSpPr/>
      </dsp:nvSpPr>
      <dsp:spPr>
        <a:xfrm rot="16200000">
          <a:off x="1632743" y="-1632743"/>
          <a:ext cx="2882106" cy="6147593"/>
        </a:xfrm>
        <a:prstGeom prst="round1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/>
            <a:t>Tilgang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Internett (høy hastighet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Digital enhet (smarttelefon, datamaskin, o.l.)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Elektronisk identitet</a:t>
          </a:r>
        </a:p>
      </dsp:txBody>
      <dsp:txXfrm rot="5400000">
        <a:off x="-1" y="1"/>
        <a:ext cx="6147593" cy="2161579"/>
      </dsp:txXfrm>
    </dsp:sp>
    <dsp:sp modelId="{CC2AAF28-49BA-4934-A7EC-258A8E811484}">
      <dsp:nvSpPr>
        <dsp:cNvPr id="0" name=""/>
        <dsp:cNvSpPr/>
      </dsp:nvSpPr>
      <dsp:spPr>
        <a:xfrm>
          <a:off x="6147593" y="0"/>
          <a:ext cx="6147593" cy="2882106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b="0" kern="1200"/>
            <a:t>Digital kompetanse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Evne til å løse oppgaver digitalt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Evne bruke digitale verktøy</a:t>
          </a:r>
        </a:p>
      </dsp:txBody>
      <dsp:txXfrm>
        <a:off x="6147593" y="0"/>
        <a:ext cx="6147593" cy="2161579"/>
      </dsp:txXfrm>
    </dsp:sp>
    <dsp:sp modelId="{25D87110-AB70-42D4-AD84-584C7914700D}">
      <dsp:nvSpPr>
        <dsp:cNvPr id="0" name=""/>
        <dsp:cNvSpPr/>
      </dsp:nvSpPr>
      <dsp:spPr>
        <a:xfrm rot="10800000">
          <a:off x="0" y="2882106"/>
          <a:ext cx="6147593" cy="2882106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/>
            <a:t>Helse- og livssituasjon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Varige eller midlertidige fysiske eller psykiske funksjonsnedsettelser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Mestringstro</a:t>
          </a:r>
        </a:p>
      </dsp:txBody>
      <dsp:txXfrm rot="10800000">
        <a:off x="0" y="3602633"/>
        <a:ext cx="6147593" cy="2161579"/>
      </dsp:txXfrm>
    </dsp:sp>
    <dsp:sp modelId="{60354FD4-489E-497F-972C-68EB99149FD2}">
      <dsp:nvSpPr>
        <dsp:cNvPr id="0" name=""/>
        <dsp:cNvSpPr/>
      </dsp:nvSpPr>
      <dsp:spPr>
        <a:xfrm rot="5400000">
          <a:off x="7780337" y="1249362"/>
          <a:ext cx="2882106" cy="6147593"/>
        </a:xfrm>
        <a:prstGeom prst="round1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/>
            <a:t>Forvaltningsforståelse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Forståelse av forvaltningens organisering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Finne rettigheter og plikter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100" kern="1200"/>
            <a:t>Evne til å finne og nyttiggjøre seg informasjon</a:t>
          </a:r>
        </a:p>
      </dsp:txBody>
      <dsp:txXfrm rot="-5400000">
        <a:off x="6147593" y="3602633"/>
        <a:ext cx="6147593" cy="2161579"/>
      </dsp:txXfrm>
    </dsp:sp>
    <dsp:sp modelId="{66B86633-D365-4B0A-91E9-9DF687A445C0}">
      <dsp:nvSpPr>
        <dsp:cNvPr id="0" name=""/>
        <dsp:cNvSpPr/>
      </dsp:nvSpPr>
      <dsp:spPr>
        <a:xfrm>
          <a:off x="4303315" y="2161579"/>
          <a:ext cx="3688556" cy="1441053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700" kern="1200"/>
            <a:t>Språkferdigheter</a:t>
          </a:r>
        </a:p>
      </dsp:txBody>
      <dsp:txXfrm>
        <a:off x="4373661" y="2231925"/>
        <a:ext cx="3547864" cy="13003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2F4D44-F72D-4F58-9EC5-7A91CE02A1AC}">
      <dsp:nvSpPr>
        <dsp:cNvPr id="0" name=""/>
        <dsp:cNvSpPr/>
      </dsp:nvSpPr>
      <dsp:spPr>
        <a:xfrm rot="16200000">
          <a:off x="613581" y="-613581"/>
          <a:ext cx="1306498" cy="2533660"/>
        </a:xfrm>
        <a:prstGeom prst="round1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Tilgang</a:t>
          </a:r>
        </a:p>
      </dsp:txBody>
      <dsp:txXfrm rot="5400000">
        <a:off x="0" y="0"/>
        <a:ext cx="2533660" cy="979873"/>
      </dsp:txXfrm>
    </dsp:sp>
    <dsp:sp modelId="{CC2AAF28-49BA-4934-A7EC-258A8E811484}">
      <dsp:nvSpPr>
        <dsp:cNvPr id="0" name=""/>
        <dsp:cNvSpPr/>
      </dsp:nvSpPr>
      <dsp:spPr>
        <a:xfrm>
          <a:off x="2533660" y="0"/>
          <a:ext cx="2533660" cy="1306498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0" kern="1200"/>
            <a:t>Digital kompetanse</a:t>
          </a:r>
        </a:p>
      </dsp:txBody>
      <dsp:txXfrm>
        <a:off x="2533660" y="0"/>
        <a:ext cx="2533660" cy="979873"/>
      </dsp:txXfrm>
    </dsp:sp>
    <dsp:sp modelId="{25D87110-AB70-42D4-AD84-584C7914700D}">
      <dsp:nvSpPr>
        <dsp:cNvPr id="0" name=""/>
        <dsp:cNvSpPr/>
      </dsp:nvSpPr>
      <dsp:spPr>
        <a:xfrm rot="10800000">
          <a:off x="0" y="1306498"/>
          <a:ext cx="2533660" cy="1306498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Helse- og livssituasjon</a:t>
          </a:r>
        </a:p>
      </dsp:txBody>
      <dsp:txXfrm rot="10800000">
        <a:off x="0" y="1633122"/>
        <a:ext cx="2533660" cy="979873"/>
      </dsp:txXfrm>
    </dsp:sp>
    <dsp:sp modelId="{60354FD4-489E-497F-972C-68EB99149FD2}">
      <dsp:nvSpPr>
        <dsp:cNvPr id="0" name=""/>
        <dsp:cNvSpPr/>
      </dsp:nvSpPr>
      <dsp:spPr>
        <a:xfrm rot="5400000">
          <a:off x="3147241" y="692916"/>
          <a:ext cx="1306498" cy="2533660"/>
        </a:xfrm>
        <a:prstGeom prst="round1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Forvaltningsforståelse</a:t>
          </a:r>
        </a:p>
      </dsp:txBody>
      <dsp:txXfrm rot="-5400000">
        <a:off x="2533661" y="1633121"/>
        <a:ext cx="2533660" cy="979873"/>
      </dsp:txXfrm>
    </dsp:sp>
    <dsp:sp modelId="{66B86633-D365-4B0A-91E9-9DF687A445C0}">
      <dsp:nvSpPr>
        <dsp:cNvPr id="0" name=""/>
        <dsp:cNvSpPr/>
      </dsp:nvSpPr>
      <dsp:spPr>
        <a:xfrm>
          <a:off x="1773562" y="979873"/>
          <a:ext cx="1520196" cy="653249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Språkferdigheter</a:t>
          </a:r>
        </a:p>
      </dsp:txBody>
      <dsp:txXfrm>
        <a:off x="1805451" y="1011762"/>
        <a:ext cx="1456418" cy="58947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CAE28B-AFCA-4A63-97D5-B3150DE772B5}">
      <dsp:nvSpPr>
        <dsp:cNvPr id="0" name=""/>
        <dsp:cNvSpPr/>
      </dsp:nvSpPr>
      <dsp:spPr>
        <a:xfrm>
          <a:off x="2992087" y="3671"/>
          <a:ext cx="5788725" cy="34732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5700" kern="1200"/>
            <a:t>Rett til å reservere seg mot digital kommunikasjon</a:t>
          </a:r>
        </a:p>
      </dsp:txBody>
      <dsp:txXfrm>
        <a:off x="2992087" y="3671"/>
        <a:ext cx="5788725" cy="3473235"/>
      </dsp:txXfrm>
    </dsp:sp>
    <dsp:sp modelId="{CC02A3C6-48BB-4DCC-8A17-E97DC53F83F7}">
      <dsp:nvSpPr>
        <dsp:cNvPr id="0" name=""/>
        <dsp:cNvSpPr/>
      </dsp:nvSpPr>
      <dsp:spPr>
        <a:xfrm>
          <a:off x="2992087" y="4055779"/>
          <a:ext cx="5788725" cy="34732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70" tIns="217170" rIns="217170" bIns="217170" numCol="1" spcCol="1270" anchor="ctr" anchorCtr="0">
          <a:noAutofit/>
        </a:bodyPr>
        <a:lstStyle/>
        <a:p>
          <a:pPr marL="0" lvl="0" indent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5700" kern="1200"/>
            <a:t>Rett til å få hjelp med offentlige digitale gjøremål</a:t>
          </a:r>
        </a:p>
      </dsp:txBody>
      <dsp:txXfrm>
        <a:off x="2992087" y="4055779"/>
        <a:ext cx="5788725" cy="3473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C97D9F32-F20C-4DB6-9AA8-FF5CEA8D1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9CB09C-20D6-4E98-B90F-BDF87D963B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5AD78B-924F-4294-8809-135CCCE6CC67}" type="datetimeFigureOut">
              <a:rPr lang="nb-NO" smtClean="0"/>
              <a:t>29.09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6CB1BA3-312D-4209-8EA0-1B3A050A5B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1C6328D-6A92-426F-9F1D-E51EC222C2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377C6-E647-4E98-8F65-2DC6962E8ED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5475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90A438-ED54-4904-B6F9-0D6E1C677A61}" type="datetimeFigureOut">
              <a:rPr lang="nb-NO" smtClean="0"/>
              <a:t>29.09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BE92EF-B57D-4588-B14E-BD58BEBEF9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414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92936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2378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12486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18524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84510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11681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830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0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83B4CB-CCEC-4AC4-B7F8-9E03CFCB2E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0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716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9452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1872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9577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6109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2034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13502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BE92EF-B57D-4588-B14E-BD58BEBEF996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811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7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1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6033" cy="4572572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4232" y="5309936"/>
            <a:ext cx="12295196" cy="2971097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944914" y="101600"/>
            <a:ext cx="13628915" cy="107405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4597" y="0"/>
            <a:ext cx="8129816" cy="9145143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589" y="566057"/>
            <a:ext cx="6480810" cy="8049032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1306286" y="130629"/>
            <a:ext cx="14557828" cy="19158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72572"/>
            <a:ext cx="8129816" cy="4571428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135" y="338378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9816" y="0"/>
            <a:ext cx="8124596" cy="4572572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81147" y="4856071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06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2365830" y="900110"/>
            <a:ext cx="11771736" cy="753268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7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63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2365963" y="3681198"/>
            <a:ext cx="6120080" cy="14196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963" y="600106"/>
            <a:ext cx="439149" cy="440948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Grev Wedels Plass 9, 0151 Oslo</a:t>
            </a:r>
            <a:endParaRPr lang="nb-NO" sz="12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rgbClr val="1E2B3C"/>
                </a:solidFill>
              </a:rPr>
              <a:t>digdir.no</a:t>
            </a:r>
            <a:endParaRPr lang="nb-NO" sz="12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03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2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946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874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0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80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97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80688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-1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900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241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8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313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90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067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16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529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34238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893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91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36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3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9FF79737-398F-402C-B43D-CC3B4D295C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738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7C1F27F4-9BAB-4737-9D61-BE140BB64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69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D40304B4-7494-47D7-BF34-9B696FCFA5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0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66B7CD85-C5A7-420A-9C64-DB45F6BFBB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97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329772AB-FAFB-49F4-A971-BC91E98F61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60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AFBCE82-E8EF-4BEB-96EB-374F370914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61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B30385E6-F6E9-42D3-B980-373913FC9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70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1A88B3D-2342-49C4-A88F-20F321BAF4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8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6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85AFD46E-4D96-40A2-B62B-C7D9D643F9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69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9974" y="2484439"/>
            <a:ext cx="14114462" cy="5945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Plassholder for tittel 1">
            <a:extLst>
              <a:ext uri="{FF2B5EF4-FFF2-40B4-BE49-F238E27FC236}">
                <a16:creationId xmlns:a16="http://schemas.microsoft.com/office/drawing/2014/main" id="{758EB8A5-7F81-4483-A711-E1C9F1B9A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6" y="1269602"/>
            <a:ext cx="14114462" cy="692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8236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069974" y="2273163"/>
            <a:ext cx="6934523" cy="6156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249914" y="2273163"/>
            <a:ext cx="6934523" cy="6156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9976" y="1269602"/>
            <a:ext cx="14114462" cy="692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2317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2" pos="899">
          <p15:clr>
            <a:srgbClr val="FBAE40"/>
          </p15:clr>
        </p15:guide>
        <p15:guide id="3" orient="horz" pos="7076">
          <p15:clr>
            <a:srgbClr val="FBAE40"/>
          </p15:clr>
        </p15:guide>
        <p15:guide id="4" pos="1275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3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445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2"/>
            <a:ext cx="16256033" cy="4572572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4232" y="5309938"/>
            <a:ext cx="12295196" cy="2971097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475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/>
        </p:nvSpPr>
        <p:spPr>
          <a:xfrm>
            <a:off x="1944914" y="101602"/>
            <a:ext cx="13628915" cy="107405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1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4599" y="3"/>
            <a:ext cx="8129816" cy="9145143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590" y="566057"/>
            <a:ext cx="6480810" cy="8049032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976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/>
        </p:nvSpPr>
        <p:spPr>
          <a:xfrm>
            <a:off x="1306286" y="130631"/>
            <a:ext cx="14557828" cy="19158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1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72574"/>
            <a:ext cx="8129816" cy="4571428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135" y="338380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9816" y="2"/>
            <a:ext cx="8124596" cy="4572572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81146" y="4856073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168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069976" y="1358539"/>
            <a:ext cx="14114461" cy="70742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4" name="Bilde 6">
            <a:extLst>
              <a:ext uri="{FF2B5EF4-FFF2-40B4-BE49-F238E27FC236}">
                <a16:creationId xmlns:a16="http://schemas.microsoft.com/office/drawing/2014/main" id="{1B9B4353-5D1B-4BCE-A682-9C57620590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8"/>
            <a:ext cx="2065553" cy="698973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BC11229E-93A2-4C35-B4C5-3226B5229B0D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8498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9"/>
            <a:ext cx="16254413" cy="9141965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2365964" y="3681200"/>
            <a:ext cx="6120080" cy="14196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965" y="600107"/>
            <a:ext cx="439149" cy="440948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0705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9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9" y="4295662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/>
        </p:nvSpPr>
        <p:spPr>
          <a:xfrm>
            <a:off x="8054543" y="7302500"/>
            <a:ext cx="3048000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/>
        </p:nvSpPr>
        <p:spPr>
          <a:xfrm>
            <a:off x="11102543" y="7302500"/>
            <a:ext cx="3048000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/>
        </p:nvSpPr>
        <p:spPr>
          <a:xfrm>
            <a:off x="3393645" y="7302500"/>
            <a:ext cx="3048000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44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54862F-0AEB-4B91-AA13-24E721F9E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1802" y="1496484"/>
            <a:ext cx="12190810" cy="3183467"/>
          </a:xfrm>
        </p:spPr>
        <p:txBody>
          <a:bodyPr anchor="b"/>
          <a:lstStyle>
            <a:lvl1pPr algn="ctr">
              <a:defRPr sz="7999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E91BA2-EB09-47B1-80E6-E06E635940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1802" y="4802717"/>
            <a:ext cx="12190810" cy="2207683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11FA1E-5839-4D2A-826C-1520F0A55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FB5E4-D1D3-4C39-B565-D85085D1B0EA}" type="datetimeFigureOut">
              <a:rPr lang="nb-NO" smtClean="0"/>
              <a:t>29.09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98952F-92CA-4FC8-87A4-E5C85CB43B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589E2-4C06-473F-A0A6-EF91650806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B8B899-459E-43B6-B073-B2E8DC869C0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16017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081" y="373282"/>
            <a:ext cx="13816251" cy="10900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19082" y="1862666"/>
            <a:ext cx="6780123" cy="454325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6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8255210" y="1862666"/>
            <a:ext cx="6780123" cy="4543252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866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1219082" y="6640754"/>
            <a:ext cx="6780123" cy="1278468"/>
          </a:xfrm>
        </p:spPr>
        <p:txBody>
          <a:bodyPr>
            <a:noAutofit/>
          </a:bodyPr>
          <a:lstStyle>
            <a:lvl1pPr marL="0" indent="0">
              <a:buNone/>
              <a:defRPr sz="1866"/>
            </a:lvl1pPr>
            <a:lvl2pPr marL="203174" indent="-203174">
              <a:buFont typeface="Arial" panose="020B0604020202020204" pitchFamily="34" charset="0"/>
              <a:buChar char="•"/>
              <a:defRPr sz="1866"/>
            </a:lvl2pPr>
            <a:lvl3pPr marL="406349" indent="-203174">
              <a:defRPr sz="1866"/>
            </a:lvl3pPr>
            <a:lvl4pPr marL="711112" indent="-304762">
              <a:defRPr sz="1866"/>
            </a:lvl4pPr>
            <a:lvl5pPr marL="1015873" indent="-304762">
              <a:defRPr sz="186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255210" y="6640754"/>
            <a:ext cx="6780123" cy="1278468"/>
          </a:xfrm>
        </p:spPr>
        <p:txBody>
          <a:bodyPr>
            <a:noAutofit/>
          </a:bodyPr>
          <a:lstStyle>
            <a:lvl1pPr marL="0" indent="0">
              <a:buNone/>
              <a:defRPr sz="1866"/>
            </a:lvl1pPr>
            <a:lvl2pPr marL="203174" indent="-203174">
              <a:buFont typeface="Arial" panose="020B0604020202020204" pitchFamily="34" charset="0"/>
              <a:buChar char="•"/>
              <a:defRPr sz="1866"/>
            </a:lvl2pPr>
            <a:lvl3pPr marL="406349" indent="-203174">
              <a:defRPr sz="1866"/>
            </a:lvl3pPr>
            <a:lvl4pPr marL="711112" indent="-304762">
              <a:defRPr sz="1866"/>
            </a:lvl4pPr>
            <a:lvl5pPr marL="1015873" indent="-304762">
              <a:defRPr sz="186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29687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image" Target="../media/image26.emf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7" r:id="rId2"/>
    <p:sldLayoutId id="2147483717" r:id="rId3"/>
    <p:sldLayoutId id="2147483713" r:id="rId4"/>
    <p:sldLayoutId id="2147483721" r:id="rId5"/>
    <p:sldLayoutId id="2147483720" r:id="rId6"/>
    <p:sldLayoutId id="2147483719" r:id="rId7"/>
    <p:sldLayoutId id="2147483718" r:id="rId8"/>
    <p:sldLayoutId id="2147483735" r:id="rId9"/>
    <p:sldLayoutId id="2147483736" r:id="rId10"/>
    <p:sldLayoutId id="2147483737" r:id="rId11"/>
    <p:sldLayoutId id="2147483650" r:id="rId12"/>
    <p:sldLayoutId id="2147483652" r:id="rId13"/>
    <p:sldLayoutId id="2147483657" r:id="rId14"/>
    <p:sldLayoutId id="2147483656" r:id="rId15"/>
    <p:sldLayoutId id="2147483669" r:id="rId16"/>
    <p:sldLayoutId id="2147483658" r:id="rId17"/>
    <p:sldLayoutId id="2147483659" r:id="rId18"/>
    <p:sldLayoutId id="2147483722" r:id="rId19"/>
    <p:sldLayoutId id="2147483651" r:id="rId20"/>
    <p:sldLayoutId id="2147483671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0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514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03A621-90ED-47EE-9550-2F39648C4586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63985455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73" imgH="476" progId="TCLayout.ActiveDocument.1">
                  <p:embed/>
                </p:oleObj>
              </mc:Choice>
              <mc:Fallback>
                <p:oleObj name="think-cell Slide" r:id="rId2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03A621-90ED-47EE-9550-2F39648C4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069976" y="1269602"/>
            <a:ext cx="14114462" cy="692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69976" y="2484440"/>
            <a:ext cx="14114462" cy="59404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443" y="469288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/>
        </p:nvSpPr>
        <p:spPr>
          <a:xfrm>
            <a:off x="13816252" y="754067"/>
            <a:ext cx="10294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697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223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4960" indent="-404960" algn="l" defTabSz="914223" rtl="0" eaLnBrk="1" latinLnBrk="0" hangingPunct="1">
        <a:lnSpc>
          <a:spcPct val="100000"/>
        </a:lnSpc>
        <a:spcBef>
          <a:spcPts val="1874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542" indent="-428582" algn="l" defTabSz="914223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515" indent="-428582" algn="l" defTabSz="914223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771" indent="-342866" algn="l" defTabSz="914223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744" indent="-342866" algn="l" defTabSz="914223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111" indent="-228556" algn="l" defTabSz="9142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3" indent="-228556" algn="l" defTabSz="9142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6" algn="l" defTabSz="9142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6" algn="l" defTabSz="9142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3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7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0" algn="l" defTabSz="9142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752">
          <p15:clr>
            <a:srgbClr val="F26B43"/>
          </p15:clr>
        </p15:guide>
        <p15:guide id="2" pos="899">
          <p15:clr>
            <a:srgbClr val="F26B43"/>
          </p15:clr>
        </p15:guide>
        <p15:guide id="3" orient="horz" pos="2087">
          <p15:clr>
            <a:srgbClr val="F26B43"/>
          </p15:clr>
        </p15:guide>
        <p15:guide id="4" orient="horz" pos="70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AD29EF37-2FC7-074E-E2F8-3B7D065A3C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31198" y="3117241"/>
            <a:ext cx="6869292" cy="2909518"/>
          </a:xfrm>
        </p:spPr>
        <p:txBody>
          <a:bodyPr>
            <a:normAutofit fontScale="90000"/>
          </a:bodyPr>
          <a:lstStyle/>
          <a:p>
            <a:r>
              <a:rPr lang="nb-NO"/>
              <a:t>Hva kan vi gjøre for at forvaltningen kan gi alle et mest mulig likeverdig tilbud?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10F2CEB-0D76-4535-68D3-2E4BB34FDF49}"/>
              </a:ext>
            </a:extLst>
          </p:cNvPr>
          <p:cNvSpPr txBox="1"/>
          <p:nvPr/>
        </p:nvSpPr>
        <p:spPr>
          <a:xfrm>
            <a:off x="11350852" y="6513095"/>
            <a:ext cx="4491790" cy="2287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>
                <a:solidFill>
                  <a:srgbClr val="FFFFFF"/>
                </a:solidFill>
              </a:rPr>
              <a:t>Ragnar Brevik</a:t>
            </a:r>
          </a:p>
          <a:p>
            <a:endParaRPr lang="nb-NO" sz="2400" i="1">
              <a:solidFill>
                <a:srgbClr val="FFFFFF"/>
              </a:solidFill>
            </a:endParaRPr>
          </a:p>
          <a:p>
            <a:r>
              <a:rPr lang="nb-NO" sz="2400" i="1">
                <a:solidFill>
                  <a:srgbClr val="FFFFFF"/>
                </a:solidFill>
              </a:rPr>
              <a:t>Digital forvaltning for alle</a:t>
            </a:r>
            <a:br>
              <a:rPr lang="nb-NO" i="1">
                <a:solidFill>
                  <a:srgbClr val="FFFFFF"/>
                </a:solidFill>
              </a:rPr>
            </a:br>
            <a:br>
              <a:rPr lang="nb-NO" sz="2400">
                <a:solidFill>
                  <a:srgbClr val="FFFFFF"/>
                </a:solidFill>
              </a:rPr>
            </a:br>
            <a:r>
              <a:rPr lang="nb-NO" sz="2400">
                <a:solidFill>
                  <a:srgbClr val="FFFFFF"/>
                </a:solidFill>
              </a:rPr>
              <a:t>Seminar, 29. september 2022</a:t>
            </a:r>
            <a:br>
              <a:rPr lang="nb-NO">
                <a:solidFill>
                  <a:srgbClr val="FFFFFF"/>
                </a:solidFill>
              </a:rPr>
            </a:br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89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11A9E97-FF40-635C-4DF4-E5CE7C1A0F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 mange digitalt sårbare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394A682-ECD1-F3D2-1DD3-8D13CC868D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/>
              <a:t>Det er grunn til å tro at antallet digitalt sårbare i møte med offentlige digitale tjenester er </a:t>
            </a:r>
            <a:r>
              <a:rPr lang="nb-NO" i="1"/>
              <a:t>høyere</a:t>
            </a:r>
            <a:r>
              <a:rPr lang="nb-NO"/>
              <a:t> enn 600 000</a:t>
            </a:r>
          </a:p>
          <a:p>
            <a:r>
              <a:rPr lang="nb-NO"/>
              <a:t>Danmark opererer med et anslag på 17-22 prosent</a:t>
            </a:r>
          </a:p>
          <a:p>
            <a:r>
              <a:rPr lang="nb-NO"/>
              <a:t>Tidligere norske kartlegginger har operert med 20-25 prosent (2014)</a:t>
            </a:r>
          </a:p>
          <a:p>
            <a:r>
              <a:rPr lang="nb-NO"/>
              <a:t>Ser vi på andre forhold enn digitale ferdigheter, rettferdiggjør det trolig et anslag på rundt 20 prosent også i Norge, tilsvarende mellom 850 000 og 900 000 personer</a:t>
            </a:r>
          </a:p>
        </p:txBody>
      </p:sp>
    </p:spTree>
    <p:extLst>
      <p:ext uri="{BB962C8B-B14F-4D97-AF65-F5344CB8AC3E}">
        <p14:creationId xmlns:p14="http://schemas.microsoft.com/office/powerpoint/2010/main" val="35452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79033A5-5ED3-BA34-4FA6-D36E39644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Hvilke grupper har høy risiko for å være digitalt sårbare?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97C94462-F6E7-6F77-5B39-D5499869E8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59"/>
          <a:stretch/>
        </p:blipFill>
        <p:spPr>
          <a:xfrm>
            <a:off x="2594831" y="2453731"/>
            <a:ext cx="11064750" cy="585959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B5EB9062-4D1B-7CB6-91B7-1B4105E0F7CF}"/>
              </a:ext>
            </a:extLst>
          </p:cNvPr>
          <p:cNvSpPr txBox="1"/>
          <p:nvPr/>
        </p:nvSpPr>
        <p:spPr>
          <a:xfrm>
            <a:off x="10386520" y="8499310"/>
            <a:ext cx="4272455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ntet fra Rybalka m.fl. (2022).</a:t>
            </a:r>
          </a:p>
        </p:txBody>
      </p:sp>
    </p:spTree>
    <p:extLst>
      <p:ext uri="{BB962C8B-B14F-4D97-AF65-F5344CB8AC3E}">
        <p14:creationId xmlns:p14="http://schemas.microsoft.com/office/powerpoint/2010/main" val="400969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8A35CA7-3E3F-B3DE-54D2-3B90E7B91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Hva slags utfordringer har digitalt sårbare i møte med Nav?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313E006-5C1A-666A-5CD4-474292BDB6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8010" y="2453731"/>
            <a:ext cx="6878392" cy="5702509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58A219B3-7F3E-13F1-5131-AA81C464651B}"/>
              </a:ext>
            </a:extLst>
          </p:cNvPr>
          <p:cNvSpPr txBox="1"/>
          <p:nvPr/>
        </p:nvSpPr>
        <p:spPr>
          <a:xfrm>
            <a:off x="10386520" y="8499310"/>
            <a:ext cx="4272455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ntet fra Midtgård m.fl. (2022).</a:t>
            </a:r>
          </a:p>
        </p:txBody>
      </p:sp>
    </p:spTree>
    <p:extLst>
      <p:ext uri="{BB962C8B-B14F-4D97-AF65-F5344CB8AC3E}">
        <p14:creationId xmlns:p14="http://schemas.microsoft.com/office/powerpoint/2010/main" val="365975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A389ADC-6251-AE50-8433-DDDB3D4CB1C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59225" y="1481138"/>
            <a:ext cx="12295188" cy="692150"/>
          </a:xfrm>
        </p:spPr>
        <p:txBody>
          <a:bodyPr/>
          <a:lstStyle/>
          <a:p>
            <a:r>
              <a:rPr lang="nb-NO"/>
              <a:t>Gap-modellen</a:t>
            </a:r>
          </a:p>
        </p:txBody>
      </p:sp>
      <p:sp>
        <p:nvSpPr>
          <p:cNvPr id="5" name="Pil: opp 4">
            <a:extLst>
              <a:ext uri="{FF2B5EF4-FFF2-40B4-BE49-F238E27FC236}">
                <a16:creationId xmlns:a16="http://schemas.microsoft.com/office/drawing/2014/main" id="{7E7A0505-8765-7A7E-51C7-E51C120A01FD}"/>
              </a:ext>
            </a:extLst>
          </p:cNvPr>
          <p:cNvSpPr/>
          <p:nvPr/>
        </p:nvSpPr>
        <p:spPr>
          <a:xfrm>
            <a:off x="6911443" y="2588657"/>
            <a:ext cx="2431526" cy="58314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79F4683D-3F76-F352-81D4-8FE1B10A4856}"/>
              </a:ext>
            </a:extLst>
          </p:cNvPr>
          <p:cNvCxnSpPr>
            <a:cxnSpLocks/>
          </p:cNvCxnSpPr>
          <p:nvPr/>
        </p:nvCxnSpPr>
        <p:spPr>
          <a:xfrm flipH="1">
            <a:off x="8837475" y="5022374"/>
            <a:ext cx="4135272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31A7E0E8-67CB-71D7-61A9-EF7C045E4FE3}"/>
              </a:ext>
            </a:extLst>
          </p:cNvPr>
          <p:cNvSpPr txBox="1"/>
          <p:nvPr/>
        </p:nvSpPr>
        <p:spPr>
          <a:xfrm>
            <a:off x="9205415" y="4512102"/>
            <a:ext cx="3384645" cy="436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ystemenes krav</a:t>
            </a:r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CC32FC4A-9FD8-EEB2-5393-C913ADCDD0CD}"/>
              </a:ext>
            </a:extLst>
          </p:cNvPr>
          <p:cNvCxnSpPr>
            <a:cxnSpLocks/>
          </p:cNvCxnSpPr>
          <p:nvPr/>
        </p:nvCxnSpPr>
        <p:spPr>
          <a:xfrm>
            <a:off x="3281665" y="6246374"/>
            <a:ext cx="4121695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F2A5C3E0-1C2A-A328-D50D-3C2BD4719A7C}"/>
              </a:ext>
            </a:extLst>
          </p:cNvPr>
          <p:cNvSpPr txBox="1"/>
          <p:nvPr/>
        </p:nvSpPr>
        <p:spPr>
          <a:xfrm>
            <a:off x="3571751" y="5741847"/>
            <a:ext cx="3541522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Individenes forutsetninge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E748D899-24F1-5E5C-67FA-671CAC927175}"/>
              </a:ext>
            </a:extLst>
          </p:cNvPr>
          <p:cNvSpPr/>
          <p:nvPr/>
        </p:nvSpPr>
        <p:spPr>
          <a:xfrm>
            <a:off x="7522067" y="5022374"/>
            <a:ext cx="1213200" cy="1213200"/>
          </a:xfrm>
          <a:prstGeom prst="rect">
            <a:avLst/>
          </a:prstGeom>
          <a:ln>
            <a:solidFill>
              <a:srgbClr val="C2132C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5B1B8362-3190-5EAB-8660-671D51CB0D2A}"/>
              </a:ext>
            </a:extLst>
          </p:cNvPr>
          <p:cNvCxnSpPr>
            <a:cxnSpLocks/>
          </p:cNvCxnSpPr>
          <p:nvPr/>
        </p:nvCxnSpPr>
        <p:spPr>
          <a:xfrm>
            <a:off x="12707633" y="3092116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95A419FB-5E25-180F-CFE7-7E2BDE4B9C00}"/>
              </a:ext>
            </a:extLst>
          </p:cNvPr>
          <p:cNvCxnSpPr>
            <a:cxnSpLocks/>
          </p:cNvCxnSpPr>
          <p:nvPr/>
        </p:nvCxnSpPr>
        <p:spPr>
          <a:xfrm flipV="1">
            <a:off x="3571751" y="6448927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A0937D6-B7FD-A6A3-A935-E0CF6C81A194}"/>
              </a:ext>
            </a:extLst>
          </p:cNvPr>
          <p:cNvSpPr txBox="1"/>
          <p:nvPr/>
        </p:nvSpPr>
        <p:spPr>
          <a:xfrm>
            <a:off x="2200151" y="8386082"/>
            <a:ext cx="2743200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individnivå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2717C750-BB6B-BEBC-FA9E-22954F11731A}"/>
              </a:ext>
            </a:extLst>
          </p:cNvPr>
          <p:cNvSpPr txBox="1"/>
          <p:nvPr/>
        </p:nvSpPr>
        <p:spPr>
          <a:xfrm>
            <a:off x="11303703" y="2456520"/>
            <a:ext cx="2807859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systemnivå</a:t>
            </a:r>
          </a:p>
        </p:txBody>
      </p:sp>
    </p:spTree>
    <p:extLst>
      <p:ext uri="{BB962C8B-B14F-4D97-AF65-F5344CB8AC3E}">
        <p14:creationId xmlns:p14="http://schemas.microsoft.com/office/powerpoint/2010/main" val="106657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A389ADC-6251-AE50-8433-DDDB3D4CB1C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59225" y="1481138"/>
            <a:ext cx="12295188" cy="692150"/>
          </a:xfrm>
        </p:spPr>
        <p:txBody>
          <a:bodyPr/>
          <a:lstStyle/>
          <a:p>
            <a:r>
              <a:rPr lang="nb-NO"/>
              <a:t>Gap-modellen</a:t>
            </a:r>
          </a:p>
        </p:txBody>
      </p:sp>
      <p:sp>
        <p:nvSpPr>
          <p:cNvPr id="5" name="Pil: opp 4">
            <a:extLst>
              <a:ext uri="{FF2B5EF4-FFF2-40B4-BE49-F238E27FC236}">
                <a16:creationId xmlns:a16="http://schemas.microsoft.com/office/drawing/2014/main" id="{7E7A0505-8765-7A7E-51C7-E51C120A01FD}"/>
              </a:ext>
            </a:extLst>
          </p:cNvPr>
          <p:cNvSpPr/>
          <p:nvPr/>
        </p:nvSpPr>
        <p:spPr>
          <a:xfrm>
            <a:off x="6911443" y="2588657"/>
            <a:ext cx="2431526" cy="58314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79F4683D-3F76-F352-81D4-8FE1B10A4856}"/>
              </a:ext>
            </a:extLst>
          </p:cNvPr>
          <p:cNvCxnSpPr>
            <a:cxnSpLocks/>
          </p:cNvCxnSpPr>
          <p:nvPr/>
        </p:nvCxnSpPr>
        <p:spPr>
          <a:xfrm flipH="1">
            <a:off x="8837475" y="5238947"/>
            <a:ext cx="4135272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31A7E0E8-67CB-71D7-61A9-EF7C045E4FE3}"/>
              </a:ext>
            </a:extLst>
          </p:cNvPr>
          <p:cNvSpPr txBox="1"/>
          <p:nvPr/>
        </p:nvSpPr>
        <p:spPr>
          <a:xfrm>
            <a:off x="9205415" y="4728675"/>
            <a:ext cx="3384645" cy="436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ystemenes krav</a:t>
            </a:r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CC32FC4A-9FD8-EEB2-5393-C913ADCDD0CD}"/>
              </a:ext>
            </a:extLst>
          </p:cNvPr>
          <p:cNvCxnSpPr>
            <a:cxnSpLocks/>
          </p:cNvCxnSpPr>
          <p:nvPr/>
        </p:nvCxnSpPr>
        <p:spPr>
          <a:xfrm>
            <a:off x="3281665" y="6017776"/>
            <a:ext cx="4121695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F2A5C3E0-1C2A-A328-D50D-3C2BD4719A7C}"/>
              </a:ext>
            </a:extLst>
          </p:cNvPr>
          <p:cNvSpPr txBox="1"/>
          <p:nvPr/>
        </p:nvSpPr>
        <p:spPr>
          <a:xfrm>
            <a:off x="3571751" y="5513249"/>
            <a:ext cx="3541522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Individenes forutsetninge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E748D899-24F1-5E5C-67FA-671CAC927175}"/>
              </a:ext>
            </a:extLst>
          </p:cNvPr>
          <p:cNvSpPr/>
          <p:nvPr/>
        </p:nvSpPr>
        <p:spPr>
          <a:xfrm>
            <a:off x="7522067" y="5238947"/>
            <a:ext cx="1213200" cy="778830"/>
          </a:xfrm>
          <a:prstGeom prst="rect">
            <a:avLst/>
          </a:prstGeom>
          <a:ln>
            <a:solidFill>
              <a:srgbClr val="C2132C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5B1B8362-3190-5EAB-8660-671D51CB0D2A}"/>
              </a:ext>
            </a:extLst>
          </p:cNvPr>
          <p:cNvCxnSpPr>
            <a:cxnSpLocks/>
          </p:cNvCxnSpPr>
          <p:nvPr/>
        </p:nvCxnSpPr>
        <p:spPr>
          <a:xfrm>
            <a:off x="12707633" y="3308689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95A419FB-5E25-180F-CFE7-7E2BDE4B9C00}"/>
              </a:ext>
            </a:extLst>
          </p:cNvPr>
          <p:cNvCxnSpPr>
            <a:cxnSpLocks/>
          </p:cNvCxnSpPr>
          <p:nvPr/>
        </p:nvCxnSpPr>
        <p:spPr>
          <a:xfrm flipV="1">
            <a:off x="3571751" y="6220329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A0937D6-B7FD-A6A3-A935-E0CF6C81A194}"/>
              </a:ext>
            </a:extLst>
          </p:cNvPr>
          <p:cNvSpPr txBox="1"/>
          <p:nvPr/>
        </p:nvSpPr>
        <p:spPr>
          <a:xfrm>
            <a:off x="2200151" y="8157484"/>
            <a:ext cx="2743200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individnivå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2717C750-BB6B-BEBC-FA9E-22954F11731A}"/>
              </a:ext>
            </a:extLst>
          </p:cNvPr>
          <p:cNvSpPr txBox="1"/>
          <p:nvPr/>
        </p:nvSpPr>
        <p:spPr>
          <a:xfrm>
            <a:off x="11303703" y="2673093"/>
            <a:ext cx="2807859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systemnivå</a:t>
            </a:r>
          </a:p>
        </p:txBody>
      </p:sp>
      <p:cxnSp>
        <p:nvCxnSpPr>
          <p:cNvPr id="3" name="Rett pilkobling 2">
            <a:extLst>
              <a:ext uri="{FF2B5EF4-FFF2-40B4-BE49-F238E27FC236}">
                <a16:creationId xmlns:a16="http://schemas.microsoft.com/office/drawing/2014/main" id="{0E98E298-A469-62F9-54F3-85FAE40789A1}"/>
              </a:ext>
            </a:extLst>
          </p:cNvPr>
          <p:cNvCxnSpPr/>
          <p:nvPr/>
        </p:nvCxnSpPr>
        <p:spPr>
          <a:xfrm flipH="1" flipV="1">
            <a:off x="8837475" y="5666874"/>
            <a:ext cx="1942820" cy="1070810"/>
          </a:xfrm>
          <a:prstGeom prst="straightConnector1">
            <a:avLst/>
          </a:prstGeom>
          <a:ln w="38100" cap="flat" cmpd="sng" algn="ctr">
            <a:solidFill>
              <a:srgbClr val="C2132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384A87F-A791-503D-9547-5D88460669CF}"/>
              </a:ext>
            </a:extLst>
          </p:cNvPr>
          <p:cNvSpPr txBox="1"/>
          <p:nvPr/>
        </p:nvSpPr>
        <p:spPr>
          <a:xfrm>
            <a:off x="9564532" y="6917755"/>
            <a:ext cx="2431526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Ikke-digitale tiltak</a:t>
            </a:r>
          </a:p>
        </p:txBody>
      </p:sp>
    </p:spTree>
    <p:extLst>
      <p:ext uri="{BB962C8B-B14F-4D97-AF65-F5344CB8AC3E}">
        <p14:creationId xmlns:p14="http://schemas.microsoft.com/office/powerpoint/2010/main" val="205624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44219F-2F5C-257A-1F17-6F8413383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kke-digitale tiltak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B69533E-8153-9AE5-6C8D-7C5719A4D0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servasjonsmulighet og papirbaserte alternativer</a:t>
            </a:r>
          </a:p>
          <a:p>
            <a:r>
              <a:rPr lang="nb-NO"/>
              <a:t>Kommunale innbyggertorg</a:t>
            </a:r>
          </a:p>
          <a:p>
            <a:r>
              <a:rPr lang="nb-NO"/>
              <a:t>Digitale hjemmehjelpere</a:t>
            </a:r>
          </a:p>
          <a:p>
            <a:r>
              <a:rPr lang="nb-NO"/>
              <a:t>Mer sentraliserte, telefonbaserte veiledningstjenester, f.eks. «Spør oss»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278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Plassholder for innhold 4">
            <a:extLst>
              <a:ext uri="{FF2B5EF4-FFF2-40B4-BE49-F238E27FC236}">
                <a16:creationId xmlns:a16="http://schemas.microsoft.com/office/drawing/2014/main" id="{8986CCD0-95D9-5540-8A97-F65B1C28F42A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516968509"/>
              </p:ext>
            </p:extLst>
          </p:nvPr>
        </p:nvGraphicFramePr>
        <p:xfrm>
          <a:off x="2365375" y="900113"/>
          <a:ext cx="11772900" cy="75326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9857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DD5D60A8-1B1E-0FB3-4F21-121EDB3EC2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5910" y="2364856"/>
            <a:ext cx="10189113" cy="2608335"/>
          </a:xfrm>
          <a:prstGeom prst="rect">
            <a:avLst/>
          </a:prstGeom>
        </p:spPr>
      </p:pic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124CCDF9-3DC3-42BB-F0BB-C8568DEDE8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4608365" y="4313345"/>
            <a:ext cx="6899020" cy="2088209"/>
          </a:xfr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1AF7069E-526E-3E9B-95E7-5934FB6D1A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77655" y="989320"/>
            <a:ext cx="8059461" cy="1953809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2BC33C9C-6748-C749-70A0-7B7C18F847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062" y="7293260"/>
            <a:ext cx="7094032" cy="1769275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3B497D38-8131-FF5F-F390-D461EF79F7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6866" y="6421313"/>
            <a:ext cx="8020385" cy="1748659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4B272178-2999-04F2-066E-ECD819D4C8EF}"/>
              </a:ext>
            </a:extLst>
          </p:cNvPr>
          <p:cNvSpPr txBox="1"/>
          <p:nvPr/>
        </p:nvSpPr>
        <p:spPr>
          <a:xfrm>
            <a:off x="976312" y="2895699"/>
            <a:ext cx="14301788" cy="415498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nb-NO" sz="6600"/>
          </a:p>
          <a:p>
            <a:pPr algn="ctr"/>
            <a:r>
              <a:rPr lang="nb-NO" sz="6600"/>
              <a:t>Manglende evne til å delta i det offentlige digitale tjenestetilbudet</a:t>
            </a:r>
          </a:p>
          <a:p>
            <a:pPr algn="ctr"/>
            <a:endParaRPr lang="nb-NO" sz="6600"/>
          </a:p>
        </p:txBody>
      </p:sp>
    </p:spTree>
    <p:extLst>
      <p:ext uri="{BB962C8B-B14F-4D97-AF65-F5344CB8AC3E}">
        <p14:creationId xmlns:p14="http://schemas.microsoft.com/office/powerpoint/2010/main" val="277635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ssholder for innhold 10">
            <a:extLst>
              <a:ext uri="{FF2B5EF4-FFF2-40B4-BE49-F238E27FC236}">
                <a16:creationId xmlns:a16="http://schemas.microsoft.com/office/drawing/2014/main" id="{0843B795-E882-B163-32A0-F0B3E9BF0F5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594984" y="2510744"/>
            <a:ext cx="4077820" cy="5776913"/>
          </a:xfrm>
          <a:ln>
            <a:solidFill>
              <a:srgbClr val="1E2B3C"/>
            </a:solidFill>
          </a:ln>
        </p:spPr>
      </p:pic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DACFC21E-9D10-7BFE-DB48-A35264D5B0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488" y="2510971"/>
            <a:ext cx="8472941" cy="5776686"/>
          </a:xfrm>
        </p:spPr>
        <p:txBody>
          <a:bodyPr/>
          <a:lstStyle/>
          <a:p>
            <a:r>
              <a:rPr lang="nb-NO"/>
              <a:t>Nettbaserte tjenester er hovedregelen for forvaltningens kommunikasjon med brukerne</a:t>
            </a:r>
          </a:p>
          <a:p>
            <a:r>
              <a:rPr lang="nb-NO"/>
              <a:t>Gir bedre tjenester til brukerne</a:t>
            </a:r>
          </a:p>
          <a:p>
            <a:r>
              <a:rPr lang="nb-NO"/>
              <a:t>Har et betydelig innsparingspotensia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3B275555-8885-4826-7909-F5E80D7BF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igitalt førstevalg</a:t>
            </a:r>
          </a:p>
        </p:txBody>
      </p:sp>
    </p:spTree>
    <p:extLst>
      <p:ext uri="{BB962C8B-B14F-4D97-AF65-F5344CB8AC3E}">
        <p14:creationId xmlns:p14="http://schemas.microsoft.com/office/powerpoint/2010/main" val="133368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A389ADC-6251-AE50-8433-DDDB3D4CB1C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59225" y="1481138"/>
            <a:ext cx="12295188" cy="692150"/>
          </a:xfrm>
        </p:spPr>
        <p:txBody>
          <a:bodyPr/>
          <a:lstStyle/>
          <a:p>
            <a:r>
              <a:rPr lang="nb-NO"/>
              <a:t>Gap-modellen</a:t>
            </a:r>
          </a:p>
        </p:txBody>
      </p:sp>
      <p:sp>
        <p:nvSpPr>
          <p:cNvPr id="5" name="Pil: opp 4">
            <a:extLst>
              <a:ext uri="{FF2B5EF4-FFF2-40B4-BE49-F238E27FC236}">
                <a16:creationId xmlns:a16="http://schemas.microsoft.com/office/drawing/2014/main" id="{7E7A0505-8765-7A7E-51C7-E51C120A01FD}"/>
              </a:ext>
            </a:extLst>
          </p:cNvPr>
          <p:cNvSpPr/>
          <p:nvPr/>
        </p:nvSpPr>
        <p:spPr>
          <a:xfrm>
            <a:off x="6911443" y="2757105"/>
            <a:ext cx="2431526" cy="5831456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79F4683D-3F76-F352-81D4-8FE1B10A4856}"/>
              </a:ext>
            </a:extLst>
          </p:cNvPr>
          <p:cNvCxnSpPr>
            <a:cxnSpLocks/>
          </p:cNvCxnSpPr>
          <p:nvPr/>
        </p:nvCxnSpPr>
        <p:spPr>
          <a:xfrm flipH="1">
            <a:off x="8837475" y="5022374"/>
            <a:ext cx="4135272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31A7E0E8-67CB-71D7-61A9-EF7C045E4FE3}"/>
              </a:ext>
            </a:extLst>
          </p:cNvPr>
          <p:cNvSpPr txBox="1"/>
          <p:nvPr/>
        </p:nvSpPr>
        <p:spPr>
          <a:xfrm>
            <a:off x="9205415" y="4512102"/>
            <a:ext cx="3384645" cy="436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ystemenes krav</a:t>
            </a:r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CC32FC4A-9FD8-EEB2-5393-C913ADCDD0CD}"/>
              </a:ext>
            </a:extLst>
          </p:cNvPr>
          <p:cNvCxnSpPr>
            <a:cxnSpLocks/>
          </p:cNvCxnSpPr>
          <p:nvPr/>
        </p:nvCxnSpPr>
        <p:spPr>
          <a:xfrm>
            <a:off x="3281665" y="6246374"/>
            <a:ext cx="4121695" cy="0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F2A5C3E0-1C2A-A328-D50D-3C2BD4719A7C}"/>
              </a:ext>
            </a:extLst>
          </p:cNvPr>
          <p:cNvSpPr txBox="1"/>
          <p:nvPr/>
        </p:nvSpPr>
        <p:spPr>
          <a:xfrm>
            <a:off x="3571751" y="5741847"/>
            <a:ext cx="3541522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Individenes forutsetninger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E748D899-24F1-5E5C-67FA-671CAC927175}"/>
              </a:ext>
            </a:extLst>
          </p:cNvPr>
          <p:cNvSpPr/>
          <p:nvPr/>
        </p:nvSpPr>
        <p:spPr>
          <a:xfrm>
            <a:off x="7522067" y="5022374"/>
            <a:ext cx="1213200" cy="1213200"/>
          </a:xfrm>
          <a:prstGeom prst="rect">
            <a:avLst/>
          </a:prstGeom>
          <a:ln>
            <a:solidFill>
              <a:srgbClr val="C2132C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5B1B8362-3190-5EAB-8660-671D51CB0D2A}"/>
              </a:ext>
            </a:extLst>
          </p:cNvPr>
          <p:cNvCxnSpPr>
            <a:cxnSpLocks/>
          </p:cNvCxnSpPr>
          <p:nvPr/>
        </p:nvCxnSpPr>
        <p:spPr>
          <a:xfrm>
            <a:off x="12707633" y="3092116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95A419FB-5E25-180F-CFE7-7E2BDE4B9C00}"/>
              </a:ext>
            </a:extLst>
          </p:cNvPr>
          <p:cNvCxnSpPr>
            <a:cxnSpLocks/>
          </p:cNvCxnSpPr>
          <p:nvPr/>
        </p:nvCxnSpPr>
        <p:spPr>
          <a:xfrm flipV="1">
            <a:off x="3571751" y="6448927"/>
            <a:ext cx="0" cy="1734603"/>
          </a:xfrm>
          <a:prstGeom prst="line">
            <a:avLst/>
          </a:prstGeom>
          <a:ln w="3810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A0937D6-B7FD-A6A3-A935-E0CF6C81A194}"/>
              </a:ext>
            </a:extLst>
          </p:cNvPr>
          <p:cNvSpPr txBox="1"/>
          <p:nvPr/>
        </p:nvSpPr>
        <p:spPr>
          <a:xfrm>
            <a:off x="2200151" y="8386082"/>
            <a:ext cx="2743200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individnivå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2717C750-BB6B-BEBC-FA9E-22954F11731A}"/>
              </a:ext>
            </a:extLst>
          </p:cNvPr>
          <p:cNvSpPr txBox="1"/>
          <p:nvPr/>
        </p:nvSpPr>
        <p:spPr>
          <a:xfrm>
            <a:off x="11303703" y="2456520"/>
            <a:ext cx="2807859" cy="44076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nb-NO"/>
              <a:t>Tiltak på systemnivå</a:t>
            </a:r>
          </a:p>
        </p:txBody>
      </p:sp>
    </p:spTree>
    <p:extLst>
      <p:ext uri="{BB962C8B-B14F-4D97-AF65-F5344CB8AC3E}">
        <p14:creationId xmlns:p14="http://schemas.microsoft.com/office/powerpoint/2010/main" val="70340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EAC4946-7A8D-84F5-5618-0253E8C6F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iltak på systemnivå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497597-362E-7FCE-F096-3CB331540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2" y="2453731"/>
            <a:ext cx="7565581" cy="5764851"/>
          </a:xfrm>
        </p:spPr>
        <p:txBody>
          <a:bodyPr>
            <a:normAutofit fontScale="92500" lnSpcReduction="10000"/>
          </a:bodyPr>
          <a:lstStyle/>
          <a:p>
            <a:r>
              <a:rPr lang="nb-NO"/>
              <a:t>Enklere tilgangsstyring, inkludert eID, samtykkeløsninger, fullmakter og digitale vergemål</a:t>
            </a:r>
          </a:p>
          <a:p>
            <a:r>
              <a:rPr lang="nb-NO"/>
              <a:t>Smartere digitale tjenester («usynlige», sammenhengende, automatiserte, prediktive)</a:t>
            </a:r>
          </a:p>
          <a:p>
            <a:r>
              <a:rPr lang="nb-NO"/>
              <a:t>Universell utforming</a:t>
            </a:r>
          </a:p>
          <a:p>
            <a:r>
              <a:rPr lang="nb-NO"/>
              <a:t>Brukskvalitet (design, brukeropplevelse, forenkling, klarspråk)</a:t>
            </a:r>
          </a:p>
          <a:p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EE8A450A-84E3-71E8-70F6-56A654509C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3824" y="2453731"/>
            <a:ext cx="3985605" cy="568501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4229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E31123-918E-39F7-F329-94B400BE0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iltak på individnivå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175BAE0-E5C0-E7D8-F2F4-58570FB62D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2453731"/>
            <a:ext cx="7594156" cy="5764851"/>
          </a:xfrm>
        </p:spPr>
        <p:txBody>
          <a:bodyPr/>
          <a:lstStyle/>
          <a:p>
            <a:r>
              <a:rPr lang="nb-NO"/>
              <a:t>Kursing og veiledning i grunnleggende digitale ferdigheter</a:t>
            </a:r>
          </a:p>
          <a:p>
            <a:r>
              <a:rPr lang="nb-NO"/>
              <a:t>Samarbeid med frivillig sektor og næringsliv om opplæring og veiledning</a:t>
            </a:r>
          </a:p>
          <a:p>
            <a:r>
              <a:rPr lang="nb-NO"/>
              <a:t>Hjelpeordninger (f.eks. gjennom bibliotekene og innbyggertorg)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5C54981-9ED9-E91C-AC70-1ED43B37B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3824" y="2453731"/>
            <a:ext cx="3985605" cy="568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68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Bridging the gap">
            <a:extLst>
              <a:ext uri="{FF2B5EF4-FFF2-40B4-BE49-F238E27FC236}">
                <a16:creationId xmlns:a16="http://schemas.microsoft.com/office/drawing/2014/main" id="{64DB36BE-35D1-39DC-95A5-2FB240D07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91444"/>
            <a:ext cx="16256033" cy="776225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201793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11B7F3-BE11-8D02-7096-A1229285A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arrierer som påvirker digitalt utenforskap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FFED8A0A-48D0-5FC5-2857-4F33DF2A24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2043111"/>
              </p:ext>
            </p:extLst>
          </p:nvPr>
        </p:nvGraphicFramePr>
        <p:xfrm>
          <a:off x="2363788" y="2454275"/>
          <a:ext cx="12295187" cy="5764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9D499F3D-8354-6021-24AC-5BC3ADF34104}"/>
              </a:ext>
            </a:extLst>
          </p:cNvPr>
          <p:cNvSpPr txBox="1"/>
          <p:nvPr/>
        </p:nvSpPr>
        <p:spPr>
          <a:xfrm>
            <a:off x="10386520" y="8499310"/>
            <a:ext cx="4272455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rt på Midtgård m.fl. (2020).</a:t>
            </a:r>
          </a:p>
        </p:txBody>
      </p:sp>
    </p:spTree>
    <p:extLst>
      <p:ext uri="{BB962C8B-B14F-4D97-AF65-F5344CB8AC3E}">
        <p14:creationId xmlns:p14="http://schemas.microsoft.com/office/powerpoint/2010/main" val="237456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42BDB0D5-FBC9-0DF5-4279-CC2E6BE48383}"/>
              </a:ext>
            </a:extLst>
          </p:cNvPr>
          <p:cNvSpPr/>
          <p:nvPr/>
        </p:nvSpPr>
        <p:spPr>
          <a:xfrm>
            <a:off x="9068231" y="56204"/>
            <a:ext cx="3600000" cy="360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1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sstander mangler høyhastighet nettilkobling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F035EE9F-C173-FF98-624F-00CD335FDFD9}"/>
              </a:ext>
            </a:extLst>
          </p:cNvPr>
          <p:cNvSpPr/>
          <p:nvPr/>
        </p:nvSpPr>
        <p:spPr>
          <a:xfrm>
            <a:off x="10174922" y="1756063"/>
            <a:ext cx="2520000" cy="252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-digitale personer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B102EA8A-C45C-B7EF-7D46-DBD3E0424FE0}"/>
              </a:ext>
            </a:extLst>
          </p:cNvPr>
          <p:cNvSpPr/>
          <p:nvPr/>
        </p:nvSpPr>
        <p:spPr>
          <a:xfrm>
            <a:off x="6236908" y="2848005"/>
            <a:ext cx="4680000" cy="468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7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med svake digitale ferdigheter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2F6D760-6BC1-B560-7BD3-02F6C095736E}"/>
              </a:ext>
            </a:extLst>
          </p:cNvPr>
          <p:cNvSpPr/>
          <p:nvPr/>
        </p:nvSpPr>
        <p:spPr>
          <a:xfrm>
            <a:off x="9616688" y="1845546"/>
            <a:ext cx="2160000" cy="2160000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med demens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A4723431-C487-B1F4-139C-8A5D8AE262F5}"/>
              </a:ext>
            </a:extLst>
          </p:cNvPr>
          <p:cNvSpPr/>
          <p:nvPr/>
        </p:nvSpPr>
        <p:spPr>
          <a:xfrm>
            <a:off x="5785546" y="636219"/>
            <a:ext cx="6120000" cy="612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med varig nedsatt fysisk eller psykisk funksjonsevne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FF98E0A0-0879-A610-7C76-2682DDB1C28B}"/>
              </a:ext>
            </a:extLst>
          </p:cNvPr>
          <p:cNvSpPr/>
          <p:nvPr/>
        </p:nvSpPr>
        <p:spPr>
          <a:xfrm>
            <a:off x="9547311" y="970556"/>
            <a:ext cx="6480000" cy="648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som synes det er vanskelig å forstå hvordan skjemaer skal fylles ut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6FFC9650-A314-48A2-E4FF-05B987A4A23E}"/>
              </a:ext>
            </a:extLst>
          </p:cNvPr>
          <p:cNvSpPr/>
          <p:nvPr/>
        </p:nvSpPr>
        <p:spPr>
          <a:xfrm>
            <a:off x="8519774" y="-672"/>
            <a:ext cx="6120000" cy="612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som synes det er vanskelig å finne nyttig informasjon på kommunens nettsider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2BD1D4A4-2A59-713E-9BF0-E3DFC90D90A4}"/>
              </a:ext>
            </a:extLst>
          </p:cNvPr>
          <p:cNvSpPr/>
          <p:nvPr/>
        </p:nvSpPr>
        <p:spPr>
          <a:xfrm>
            <a:off x="8045367" y="6741773"/>
            <a:ext cx="2160000" cy="2160000"/>
          </a:xfrm>
          <a:prstGeom prst="ellipse">
            <a:avLst/>
          </a:prstGeom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som ikke får oversikt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285C914E-CD8B-EBD0-4E84-D1809BED33CD}"/>
              </a:ext>
            </a:extLst>
          </p:cNvPr>
          <p:cNvSpPr/>
          <p:nvPr/>
        </p:nvSpPr>
        <p:spPr>
          <a:xfrm>
            <a:off x="9036856" y="2880003"/>
            <a:ext cx="6120000" cy="6120000"/>
          </a:xfrm>
          <a:prstGeom prst="ellipse">
            <a:avLst/>
          </a:prstGeom>
          <a:solidFill>
            <a:srgbClr val="F9D2D3"/>
          </a:solidFill>
          <a:ln>
            <a:solidFill>
              <a:schemeClr val="accent6">
                <a:shade val="50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00 000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er er uenig i at det i offentlige digitale tjenester brukes et forståelig språk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B1DFCC0-E1E4-6F82-B375-587425A2E575}"/>
              </a:ext>
            </a:extLst>
          </p:cNvPr>
          <p:cNvSpPr/>
          <p:nvPr/>
        </p:nvSpPr>
        <p:spPr>
          <a:xfrm>
            <a:off x="7198341" y="1427479"/>
            <a:ext cx="6480000" cy="6480000"/>
          </a:xfrm>
          <a:prstGeom prst="ellipse">
            <a:avLst/>
          </a:prstGeom>
          <a:noFill/>
          <a:ln w="63500"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Snakkeboble: oval 7">
            <a:extLst>
              <a:ext uri="{FF2B5EF4-FFF2-40B4-BE49-F238E27FC236}">
                <a16:creationId xmlns:a16="http://schemas.microsoft.com/office/drawing/2014/main" id="{1694976C-31AF-49B4-C983-752F3C4D8C6C}"/>
              </a:ext>
            </a:extLst>
          </p:cNvPr>
          <p:cNvSpPr/>
          <p:nvPr/>
        </p:nvSpPr>
        <p:spPr>
          <a:xfrm>
            <a:off x="12613182" y="1079864"/>
            <a:ext cx="3488038" cy="1572989"/>
          </a:xfrm>
          <a:prstGeom prst="wedgeEllipseCallout">
            <a:avLst>
              <a:gd name="adj1" fmla="val -113633"/>
              <a:gd name="adj2" fmla="val -28054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t utenfor</a:t>
            </a:r>
          </a:p>
        </p:txBody>
      </p:sp>
      <p:graphicFrame>
        <p:nvGraphicFramePr>
          <p:cNvPr id="13" name="Plassholder for innhold 3">
            <a:extLst>
              <a:ext uri="{FF2B5EF4-FFF2-40B4-BE49-F238E27FC236}">
                <a16:creationId xmlns:a16="http://schemas.microsoft.com/office/drawing/2014/main" id="{D5029ACF-AC1F-DBBB-5C25-1F24407D65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0226334"/>
              </p:ext>
            </p:extLst>
          </p:nvPr>
        </p:nvGraphicFramePr>
        <p:xfrm>
          <a:off x="59065" y="3265502"/>
          <a:ext cx="5067321" cy="26129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6712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3" grpId="0" animBg="1"/>
      <p:bldP spid="6" grpId="0" animBg="1"/>
      <p:bldP spid="11" grpId="0" animBg="1"/>
      <p:bldP spid="10" grpId="0" animBg="1"/>
      <p:bldP spid="12" grpId="0" animBg="1"/>
      <p:bldP spid="9" grpId="0" animBg="1"/>
      <p:bldP spid="7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2.xml><?xml version="1.0" encoding="utf-8"?>
<a:theme xmlns:a="http://schemas.openxmlformats.org/drawingml/2006/main" name="Overgang Introslides - Med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8C07AF9-138E-458F-9801-2AB7D1CB6417}"/>
    </a:ext>
  </a:extLst>
</a:theme>
</file>

<file path=ppt/theme/theme3.xml><?xml version="1.0" encoding="utf-8"?>
<a:theme xmlns:a="http://schemas.openxmlformats.org/drawingml/2006/main" name="Overgang Introslides - Uten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4FA7598C-311E-4D41-AEEE-A0D0A96A8C80}"/>
    </a:ext>
  </a:extLst>
</a:theme>
</file>

<file path=ppt/theme/theme4.xml><?xml version="1.0" encoding="utf-8"?>
<a:theme xmlns:a="http://schemas.openxmlformats.org/drawingml/2006/main" name="1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9BAC6FBAE0D06499ACBB66A1D7DA2E1" ma:contentTypeVersion="8" ma:contentTypeDescription="Opprett et nytt dokument." ma:contentTypeScope="" ma:versionID="b19ba5af96b6e23277a0d96f53d66f1b">
  <xsd:schema xmlns:xsd="http://www.w3.org/2001/XMLSchema" xmlns:xs="http://www.w3.org/2001/XMLSchema" xmlns:p="http://schemas.microsoft.com/office/2006/metadata/properties" xmlns:ns2="827aeeaa-87a2-4ac7-8f01-f459ba4c2a8a" xmlns:ns3="01de4c17-fbac-4b78-a633-21df0767c2b9" targetNamespace="http://schemas.microsoft.com/office/2006/metadata/properties" ma:root="true" ma:fieldsID="29c4891d9b6c211fcb9229a27c58d50d" ns2:_="" ns3:_="">
    <xsd:import namespace="827aeeaa-87a2-4ac7-8f01-f459ba4c2a8a"/>
    <xsd:import namespace="01de4c17-fbac-4b78-a633-21df0767c2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aeeaa-87a2-4ac7-8f01-f459ba4c2a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de4c17-fbac-4b78-a633-21df0767c2b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1B42EE-B5C4-4423-89E7-D238B73708C8}">
  <ds:schemaRefs>
    <ds:schemaRef ds:uri="01de4c17-fbac-4b78-a633-21df0767c2b9"/>
    <ds:schemaRef ds:uri="827aeeaa-87a2-4ac7-8f01-f459ba4c2a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F279FA-987F-4872-89FB-4AC8AD89CEE4}">
  <ds:schemaRefs>
    <ds:schemaRef ds:uri="http://purl.org/dc/dcmitype/"/>
    <ds:schemaRef ds:uri="http://purl.org/dc/terms/"/>
    <ds:schemaRef ds:uri="http://www.w3.org/XML/1998/namespace"/>
    <ds:schemaRef ds:uri="827aeeaa-87a2-4ac7-8f01-f459ba4c2a8a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01de4c17-fbac-4b78-a633-21df0767c2b9"/>
  </ds:schemaRefs>
</ds:datastoreItem>
</file>

<file path=customXml/itemProps3.xml><?xml version="1.0" encoding="utf-8"?>
<ds:datastoreItem xmlns:ds="http://schemas.openxmlformats.org/officeDocument/2006/customXml" ds:itemID="{E8D818A3-E28C-460F-933B-D06D36B5055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gdir mal</Template>
  <TotalTime>0</TotalTime>
  <Words>509</Words>
  <Application>Microsoft Office PowerPoint</Application>
  <PresentationFormat>Egendefinert</PresentationFormat>
  <Paragraphs>116</Paragraphs>
  <Slides>16</Slides>
  <Notes>15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3" baseType="lpstr">
      <vt:lpstr>Arial</vt:lpstr>
      <vt:lpstr>Calibri</vt:lpstr>
      <vt:lpstr>Digdir PPTmal</vt:lpstr>
      <vt:lpstr>Overgang Introslides - Med lyd</vt:lpstr>
      <vt:lpstr>Overgang Introslides - Uten lyd</vt:lpstr>
      <vt:lpstr>1_Digdir PPTmal</vt:lpstr>
      <vt:lpstr>think-cell Slide</vt:lpstr>
      <vt:lpstr>Hva kan vi gjøre for at forvaltningen kan gi alle et mest mulig likeverdig tilbud?</vt:lpstr>
      <vt:lpstr>PowerPoint-presentasjon</vt:lpstr>
      <vt:lpstr>Digitalt førstevalg</vt:lpstr>
      <vt:lpstr>Gap-modellen</vt:lpstr>
      <vt:lpstr>Tiltak på systemnivå</vt:lpstr>
      <vt:lpstr>Tiltak på individnivå</vt:lpstr>
      <vt:lpstr>PowerPoint-presentasjon</vt:lpstr>
      <vt:lpstr>Barrierer som påvirker digitalt utenforskap</vt:lpstr>
      <vt:lpstr>PowerPoint-presentasjon</vt:lpstr>
      <vt:lpstr>Hvor mange digitalt sårbare?</vt:lpstr>
      <vt:lpstr>Hvilke grupper har høy risiko for å være digitalt sårbare?</vt:lpstr>
      <vt:lpstr>Hva slags utfordringer har digitalt sårbare i møte med Nav?</vt:lpstr>
      <vt:lpstr>Gap-modellen</vt:lpstr>
      <vt:lpstr>Gap-modellen</vt:lpstr>
      <vt:lpstr>Ikke-digitale tiltak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va kan vi gjøre for at forvaltningen kan gi alle et mest mulig likeverdig tilbud?</dc:title>
  <dc:creator>Brevik, Ragnar</dc:creator>
  <cp:lastModifiedBy>dag wiese schartum</cp:lastModifiedBy>
  <cp:revision>2</cp:revision>
  <dcterms:created xsi:type="dcterms:W3CDTF">2022-09-20T09:22:06Z</dcterms:created>
  <dcterms:modified xsi:type="dcterms:W3CDTF">2022-09-29T21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BAC6FBAE0D06499ACBB66A1D7DA2E1</vt:lpwstr>
  </property>
</Properties>
</file>